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 bookmarkIdSeed="5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1969" r:id="rId2"/>
    <p:sldId id="1970" r:id="rId3"/>
    <p:sldId id="1981" r:id="rId4"/>
    <p:sldId id="2013" r:id="rId5"/>
    <p:sldId id="2014" r:id="rId6"/>
    <p:sldId id="2015" r:id="rId7"/>
    <p:sldId id="2016" r:id="rId8"/>
    <p:sldId id="1995" r:id="rId9"/>
    <p:sldId id="2007" r:id="rId10"/>
    <p:sldId id="2008" r:id="rId11"/>
    <p:sldId id="2006" r:id="rId12"/>
    <p:sldId id="2009" r:id="rId13"/>
    <p:sldId id="2010" r:id="rId14"/>
    <p:sldId id="2012" r:id="rId15"/>
    <p:sldId id="2011" r:id="rId16"/>
    <p:sldId id="1971" r:id="rId17"/>
  </p:sldIdLst>
  <p:sldSz cx="9144000" cy="6858000" type="screen4x3"/>
  <p:notesSz cx="6858000" cy="9661525"/>
  <p:custShowLst>
    <p:custShow name="Mustermann1" id="0">
      <p:sldLst/>
    </p:custShow>
  </p:custShowLst>
  <p:custDataLst>
    <p:tags r:id="rId20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624" autoAdjust="0"/>
    <p:restoredTop sz="66667" autoAdjust="0"/>
  </p:normalViewPr>
  <p:slideViewPr>
    <p:cSldViewPr snapToGrid="0" showGuides="1">
      <p:cViewPr varScale="1">
        <p:scale>
          <a:sx n="43" d="100"/>
          <a:sy n="43" d="100"/>
        </p:scale>
        <p:origin x="1652" y="3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39DE23-DF62-4A75-8FCD-E18EBD8EADA2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E3269BEB-2499-437B-9A60-8E67C56CB3BC}">
      <dgm:prSet/>
      <dgm:spPr/>
      <dgm:t>
        <a:bodyPr/>
        <a:lstStyle/>
        <a:p>
          <a:pPr>
            <a:lnSpc>
              <a:spcPct val="100000"/>
            </a:lnSpc>
          </a:pPr>
          <a:r>
            <a:rPr lang="de-DE" dirty="0"/>
            <a:t>Datensatz</a:t>
          </a:r>
          <a:endParaRPr lang="en-US" dirty="0"/>
        </a:p>
      </dgm:t>
    </dgm:pt>
    <dgm:pt modelId="{8F516447-23D0-4200-9F77-59D4D7CFEF51}" type="parTrans" cxnId="{AB3BBA12-1189-4BDF-B395-D92136D06A89}">
      <dgm:prSet/>
      <dgm:spPr/>
      <dgm:t>
        <a:bodyPr/>
        <a:lstStyle/>
        <a:p>
          <a:endParaRPr lang="en-US"/>
        </a:p>
      </dgm:t>
    </dgm:pt>
    <dgm:pt modelId="{AE9B701A-3796-4B0D-B5D6-AF5CF082C0F8}" type="sibTrans" cxnId="{AB3BBA12-1189-4BDF-B395-D92136D06A89}">
      <dgm:prSet/>
      <dgm:spPr/>
      <dgm:t>
        <a:bodyPr/>
        <a:lstStyle/>
        <a:p>
          <a:endParaRPr lang="en-US"/>
        </a:p>
      </dgm:t>
    </dgm:pt>
    <dgm:pt modelId="{908AC787-E0D2-4518-9451-F19A1A4B6CA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Neuronales</a:t>
          </a:r>
          <a:r>
            <a:rPr lang="en-US" dirty="0"/>
            <a:t> </a:t>
          </a:r>
          <a:r>
            <a:rPr lang="en-US" dirty="0" err="1"/>
            <a:t>Netz</a:t>
          </a:r>
          <a:endParaRPr lang="en-US" dirty="0"/>
        </a:p>
      </dgm:t>
    </dgm:pt>
    <dgm:pt modelId="{2C894364-C76A-456D-BE3D-FB78E01F1F24}" type="parTrans" cxnId="{3132E007-F4EF-4435-92AE-47958F7AB826}">
      <dgm:prSet/>
      <dgm:spPr/>
      <dgm:t>
        <a:bodyPr/>
        <a:lstStyle/>
        <a:p>
          <a:endParaRPr lang="en-US"/>
        </a:p>
      </dgm:t>
    </dgm:pt>
    <dgm:pt modelId="{47D1A897-8772-4534-B5AB-82045FB2C7E2}" type="sibTrans" cxnId="{3132E007-F4EF-4435-92AE-47958F7AB826}">
      <dgm:prSet/>
      <dgm:spPr/>
      <dgm:t>
        <a:bodyPr/>
        <a:lstStyle/>
        <a:p>
          <a:endParaRPr lang="en-US"/>
        </a:p>
      </dgm:t>
    </dgm:pt>
    <dgm:pt modelId="{60B8F7B4-0367-4C1F-A8BC-A64E96987135}">
      <dgm:prSet/>
      <dgm:spPr/>
      <dgm:t>
        <a:bodyPr/>
        <a:lstStyle/>
        <a:p>
          <a:pPr>
            <a:lnSpc>
              <a:spcPct val="100000"/>
            </a:lnSpc>
          </a:pPr>
          <a:r>
            <a:rPr lang="de-DE" dirty="0"/>
            <a:t>Ergebnisse</a:t>
          </a:r>
          <a:endParaRPr lang="en-US" dirty="0"/>
        </a:p>
      </dgm:t>
    </dgm:pt>
    <dgm:pt modelId="{7049A17B-E126-4B1A-88C9-DB6CBA8A31B5}" type="parTrans" cxnId="{0BD25FE8-4F53-4C0B-9B08-AA0E4A489903}">
      <dgm:prSet/>
      <dgm:spPr/>
      <dgm:t>
        <a:bodyPr/>
        <a:lstStyle/>
        <a:p>
          <a:endParaRPr lang="en-US"/>
        </a:p>
      </dgm:t>
    </dgm:pt>
    <dgm:pt modelId="{C1DF5A71-38DB-4BF8-991C-0A9CFE1B0B2C}" type="sibTrans" cxnId="{0BD25FE8-4F53-4C0B-9B08-AA0E4A489903}">
      <dgm:prSet/>
      <dgm:spPr/>
      <dgm:t>
        <a:bodyPr/>
        <a:lstStyle/>
        <a:p>
          <a:endParaRPr lang="en-US"/>
        </a:p>
      </dgm:t>
    </dgm:pt>
    <dgm:pt modelId="{5F76922C-0332-49EF-8F19-DEC6BEEF0818}" type="pres">
      <dgm:prSet presAssocID="{F539DE23-DF62-4A75-8FCD-E18EBD8EADA2}" presName="root" presStyleCnt="0">
        <dgm:presLayoutVars>
          <dgm:dir/>
          <dgm:resizeHandles val="exact"/>
        </dgm:presLayoutVars>
      </dgm:prSet>
      <dgm:spPr/>
    </dgm:pt>
    <dgm:pt modelId="{A9F4682C-3F52-45EE-8A6E-5B057D883408}" type="pres">
      <dgm:prSet presAssocID="{E3269BEB-2499-437B-9A60-8E67C56CB3BC}" presName="compNode" presStyleCnt="0"/>
      <dgm:spPr/>
    </dgm:pt>
    <dgm:pt modelId="{2915D94B-2DC5-4DF4-AED7-CE1CB5FF5D13}" type="pres">
      <dgm:prSet presAssocID="{E3269BEB-2499-437B-9A60-8E67C56CB3BC}" presName="bgRect" presStyleLbl="bgShp" presStyleIdx="0" presStyleCnt="3" custScaleY="66807"/>
      <dgm:spPr/>
    </dgm:pt>
    <dgm:pt modelId="{83F6E557-FBC9-4F08-A16D-2EAA40217C51}" type="pres">
      <dgm:prSet presAssocID="{E3269BEB-2499-437B-9A60-8E67C56CB3BC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lkendiagramm mit einfarbiger Füllung"/>
        </a:ext>
      </dgm:extLst>
    </dgm:pt>
    <dgm:pt modelId="{11D16D70-7089-4F19-9C96-395D45AF5A0E}" type="pres">
      <dgm:prSet presAssocID="{E3269BEB-2499-437B-9A60-8E67C56CB3BC}" presName="spaceRect" presStyleCnt="0"/>
      <dgm:spPr/>
    </dgm:pt>
    <dgm:pt modelId="{F3AD194C-D34B-4158-A93A-DF167927EFEA}" type="pres">
      <dgm:prSet presAssocID="{E3269BEB-2499-437B-9A60-8E67C56CB3BC}" presName="parTx" presStyleLbl="revTx" presStyleIdx="0" presStyleCnt="3" custLinFactNeighborX="-4134" custLinFactNeighborY="-700">
        <dgm:presLayoutVars>
          <dgm:chMax val="0"/>
          <dgm:chPref val="0"/>
        </dgm:presLayoutVars>
      </dgm:prSet>
      <dgm:spPr/>
    </dgm:pt>
    <dgm:pt modelId="{A3025789-1504-409D-8750-2098B1BE9459}" type="pres">
      <dgm:prSet presAssocID="{AE9B701A-3796-4B0D-B5D6-AF5CF082C0F8}" presName="sibTrans" presStyleCnt="0"/>
      <dgm:spPr/>
    </dgm:pt>
    <dgm:pt modelId="{636D36BC-5138-45D0-BCB6-CD0DF71EAB50}" type="pres">
      <dgm:prSet presAssocID="{908AC787-E0D2-4518-9451-F19A1A4B6CA3}" presName="compNode" presStyleCnt="0"/>
      <dgm:spPr/>
    </dgm:pt>
    <dgm:pt modelId="{94246F23-74FE-46B8-A6B9-F7BD6C065095}" type="pres">
      <dgm:prSet presAssocID="{908AC787-E0D2-4518-9451-F19A1A4B6CA3}" presName="bgRect" presStyleLbl="bgShp" presStyleIdx="1" presStyleCnt="3" custScaleY="66807" custLinFactNeighborX="-9" custLinFactNeighborY="-31649"/>
      <dgm:spPr/>
    </dgm:pt>
    <dgm:pt modelId="{99FDEF97-6C6C-43DB-91FE-EFE3255A74D9}" type="pres">
      <dgm:prSet presAssocID="{908AC787-E0D2-4518-9451-F19A1A4B6CA3}" presName="iconRect" presStyleLbl="node1" presStyleIdx="1" presStyleCnt="3" custLinFactNeighborX="-7899" custLinFactNeighborY="-5245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mikalien Silhouette"/>
        </a:ext>
      </dgm:extLst>
    </dgm:pt>
    <dgm:pt modelId="{96ADA9C0-B9E1-4F55-A630-5E4A89DFF99C}" type="pres">
      <dgm:prSet presAssocID="{908AC787-E0D2-4518-9451-F19A1A4B6CA3}" presName="spaceRect" presStyleCnt="0"/>
      <dgm:spPr/>
    </dgm:pt>
    <dgm:pt modelId="{B2C89F2B-29B3-4730-8A2E-9445C061DB9D}" type="pres">
      <dgm:prSet presAssocID="{908AC787-E0D2-4518-9451-F19A1A4B6CA3}" presName="parTx" presStyleLbl="revTx" presStyleIdx="1" presStyleCnt="3" custScaleY="66807" custLinFactNeighborX="-4309" custLinFactNeighborY="-30949">
        <dgm:presLayoutVars>
          <dgm:chMax val="0"/>
          <dgm:chPref val="0"/>
        </dgm:presLayoutVars>
      </dgm:prSet>
      <dgm:spPr/>
    </dgm:pt>
    <dgm:pt modelId="{2F1EB8EC-E4E5-4DFD-907A-59BC542E0F49}" type="pres">
      <dgm:prSet presAssocID="{47D1A897-8772-4534-B5AB-82045FB2C7E2}" presName="sibTrans" presStyleCnt="0"/>
      <dgm:spPr/>
    </dgm:pt>
    <dgm:pt modelId="{625377C1-7CC0-4B75-BB1D-EE078D12A543}" type="pres">
      <dgm:prSet presAssocID="{60B8F7B4-0367-4C1F-A8BC-A64E96987135}" presName="compNode" presStyleCnt="0"/>
      <dgm:spPr/>
    </dgm:pt>
    <dgm:pt modelId="{506EA9BE-631A-4744-84F2-825BF743D439}" type="pres">
      <dgm:prSet presAssocID="{60B8F7B4-0367-4C1F-A8BC-A64E96987135}" presName="bgRect" presStyleLbl="bgShp" presStyleIdx="2" presStyleCnt="3" custScaleY="66807" custLinFactNeighborX="-9" custLinFactNeighborY="-64138"/>
      <dgm:spPr/>
    </dgm:pt>
    <dgm:pt modelId="{4926D537-175D-4C02-87F0-AC7104C66423}" type="pres">
      <dgm:prSet presAssocID="{60B8F7B4-0367-4C1F-A8BC-A64E96987135}" presName="iconRect" presStyleLbl="node1" presStyleIdx="2" presStyleCnt="3" custLinFactY="-17886" custLinFactNeighborX="-10996" custLinFactNeighborY="-100000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äsentation mit Kreisdiagramm mit einfarbiger Füllung"/>
        </a:ext>
      </dgm:extLst>
    </dgm:pt>
    <dgm:pt modelId="{EEC35B03-9603-4FC9-8C46-325DD9A92F37}" type="pres">
      <dgm:prSet presAssocID="{60B8F7B4-0367-4C1F-A8BC-A64E96987135}" presName="spaceRect" presStyleCnt="0"/>
      <dgm:spPr/>
    </dgm:pt>
    <dgm:pt modelId="{CB711872-A3F5-4E13-A9A5-9E5A59FD10EA}" type="pres">
      <dgm:prSet presAssocID="{60B8F7B4-0367-4C1F-A8BC-A64E96987135}" presName="parTx" presStyleLbl="revTx" presStyleIdx="2" presStyleCnt="3" custScaleY="66807" custLinFactNeighborX="-3895" custLinFactNeighborY="-64138">
        <dgm:presLayoutVars>
          <dgm:chMax val="0"/>
          <dgm:chPref val="0"/>
        </dgm:presLayoutVars>
      </dgm:prSet>
      <dgm:spPr/>
    </dgm:pt>
  </dgm:ptLst>
  <dgm:cxnLst>
    <dgm:cxn modelId="{FB338806-5F3E-42A6-8EF1-B65090E466F8}" type="presOf" srcId="{F539DE23-DF62-4A75-8FCD-E18EBD8EADA2}" destId="{5F76922C-0332-49EF-8F19-DEC6BEEF0818}" srcOrd="0" destOrd="0" presId="urn:microsoft.com/office/officeart/2018/2/layout/IconVerticalSolidList"/>
    <dgm:cxn modelId="{3132E007-F4EF-4435-92AE-47958F7AB826}" srcId="{F539DE23-DF62-4A75-8FCD-E18EBD8EADA2}" destId="{908AC787-E0D2-4518-9451-F19A1A4B6CA3}" srcOrd="1" destOrd="0" parTransId="{2C894364-C76A-456D-BE3D-FB78E01F1F24}" sibTransId="{47D1A897-8772-4534-B5AB-82045FB2C7E2}"/>
    <dgm:cxn modelId="{AB3BBA12-1189-4BDF-B395-D92136D06A89}" srcId="{F539DE23-DF62-4A75-8FCD-E18EBD8EADA2}" destId="{E3269BEB-2499-437B-9A60-8E67C56CB3BC}" srcOrd="0" destOrd="0" parTransId="{8F516447-23D0-4200-9F77-59D4D7CFEF51}" sibTransId="{AE9B701A-3796-4B0D-B5D6-AF5CF082C0F8}"/>
    <dgm:cxn modelId="{55EDDCAB-1632-4959-BEB9-FAF9E8C00F68}" type="presOf" srcId="{60B8F7B4-0367-4C1F-A8BC-A64E96987135}" destId="{CB711872-A3F5-4E13-A9A5-9E5A59FD10EA}" srcOrd="0" destOrd="0" presId="urn:microsoft.com/office/officeart/2018/2/layout/IconVerticalSolidList"/>
    <dgm:cxn modelId="{A8F0B6E7-1DDE-494E-B326-9CC3F8FBF1F0}" type="presOf" srcId="{908AC787-E0D2-4518-9451-F19A1A4B6CA3}" destId="{B2C89F2B-29B3-4730-8A2E-9445C061DB9D}" srcOrd="0" destOrd="0" presId="urn:microsoft.com/office/officeart/2018/2/layout/IconVerticalSolidList"/>
    <dgm:cxn modelId="{0BD25FE8-4F53-4C0B-9B08-AA0E4A489903}" srcId="{F539DE23-DF62-4A75-8FCD-E18EBD8EADA2}" destId="{60B8F7B4-0367-4C1F-A8BC-A64E96987135}" srcOrd="2" destOrd="0" parTransId="{7049A17B-E126-4B1A-88C9-DB6CBA8A31B5}" sibTransId="{C1DF5A71-38DB-4BF8-991C-0A9CFE1B0B2C}"/>
    <dgm:cxn modelId="{852CDAFC-19CF-44CC-AA28-9A308CCDAACD}" type="presOf" srcId="{E3269BEB-2499-437B-9A60-8E67C56CB3BC}" destId="{F3AD194C-D34B-4158-A93A-DF167927EFEA}" srcOrd="0" destOrd="0" presId="urn:microsoft.com/office/officeart/2018/2/layout/IconVerticalSolidList"/>
    <dgm:cxn modelId="{720DC2F6-43F4-41EE-B786-84A9E87FBC18}" type="presParOf" srcId="{5F76922C-0332-49EF-8F19-DEC6BEEF0818}" destId="{A9F4682C-3F52-45EE-8A6E-5B057D883408}" srcOrd="0" destOrd="0" presId="urn:microsoft.com/office/officeart/2018/2/layout/IconVerticalSolidList"/>
    <dgm:cxn modelId="{A66690EC-C9D0-4535-8CF6-9EA6F56A9E2E}" type="presParOf" srcId="{A9F4682C-3F52-45EE-8A6E-5B057D883408}" destId="{2915D94B-2DC5-4DF4-AED7-CE1CB5FF5D13}" srcOrd="0" destOrd="0" presId="urn:microsoft.com/office/officeart/2018/2/layout/IconVerticalSolidList"/>
    <dgm:cxn modelId="{954D6FD7-4A17-4FF6-BB6B-0FDCB3EB6FED}" type="presParOf" srcId="{A9F4682C-3F52-45EE-8A6E-5B057D883408}" destId="{83F6E557-FBC9-4F08-A16D-2EAA40217C51}" srcOrd="1" destOrd="0" presId="urn:microsoft.com/office/officeart/2018/2/layout/IconVerticalSolidList"/>
    <dgm:cxn modelId="{B9890FBC-8070-450C-92DF-B6F9946D9E03}" type="presParOf" srcId="{A9F4682C-3F52-45EE-8A6E-5B057D883408}" destId="{11D16D70-7089-4F19-9C96-395D45AF5A0E}" srcOrd="2" destOrd="0" presId="urn:microsoft.com/office/officeart/2018/2/layout/IconVerticalSolidList"/>
    <dgm:cxn modelId="{531C9402-5E09-473A-B054-ACDD9B99EFFF}" type="presParOf" srcId="{A9F4682C-3F52-45EE-8A6E-5B057D883408}" destId="{F3AD194C-D34B-4158-A93A-DF167927EFEA}" srcOrd="3" destOrd="0" presId="urn:microsoft.com/office/officeart/2018/2/layout/IconVerticalSolidList"/>
    <dgm:cxn modelId="{2D18A3F2-F673-4709-9C94-4509F8D34476}" type="presParOf" srcId="{5F76922C-0332-49EF-8F19-DEC6BEEF0818}" destId="{A3025789-1504-409D-8750-2098B1BE9459}" srcOrd="1" destOrd="0" presId="urn:microsoft.com/office/officeart/2018/2/layout/IconVerticalSolidList"/>
    <dgm:cxn modelId="{5B037ED0-B84E-4D5A-BECB-E120BF9B7396}" type="presParOf" srcId="{5F76922C-0332-49EF-8F19-DEC6BEEF0818}" destId="{636D36BC-5138-45D0-BCB6-CD0DF71EAB50}" srcOrd="2" destOrd="0" presId="urn:microsoft.com/office/officeart/2018/2/layout/IconVerticalSolidList"/>
    <dgm:cxn modelId="{CCD90CC7-8176-4EC5-91BB-382F9230FB70}" type="presParOf" srcId="{636D36BC-5138-45D0-BCB6-CD0DF71EAB50}" destId="{94246F23-74FE-46B8-A6B9-F7BD6C065095}" srcOrd="0" destOrd="0" presId="urn:microsoft.com/office/officeart/2018/2/layout/IconVerticalSolidList"/>
    <dgm:cxn modelId="{609A3C31-61E6-4045-A05F-FA0E0C4887D2}" type="presParOf" srcId="{636D36BC-5138-45D0-BCB6-CD0DF71EAB50}" destId="{99FDEF97-6C6C-43DB-91FE-EFE3255A74D9}" srcOrd="1" destOrd="0" presId="urn:microsoft.com/office/officeart/2018/2/layout/IconVerticalSolidList"/>
    <dgm:cxn modelId="{59407B5C-60C5-49D4-8B29-2F22BBF6FBD9}" type="presParOf" srcId="{636D36BC-5138-45D0-BCB6-CD0DF71EAB50}" destId="{96ADA9C0-B9E1-4F55-A630-5E4A89DFF99C}" srcOrd="2" destOrd="0" presId="urn:microsoft.com/office/officeart/2018/2/layout/IconVerticalSolidList"/>
    <dgm:cxn modelId="{F1E0D2E5-AE0C-4956-8959-AFA9B9FAC6C7}" type="presParOf" srcId="{636D36BC-5138-45D0-BCB6-CD0DF71EAB50}" destId="{B2C89F2B-29B3-4730-8A2E-9445C061DB9D}" srcOrd="3" destOrd="0" presId="urn:microsoft.com/office/officeart/2018/2/layout/IconVerticalSolidList"/>
    <dgm:cxn modelId="{00AF0B2D-A866-4FC8-A201-05E9149C6B2C}" type="presParOf" srcId="{5F76922C-0332-49EF-8F19-DEC6BEEF0818}" destId="{2F1EB8EC-E4E5-4DFD-907A-59BC542E0F49}" srcOrd="3" destOrd="0" presId="urn:microsoft.com/office/officeart/2018/2/layout/IconVerticalSolidList"/>
    <dgm:cxn modelId="{8DC86571-B740-4E6E-B377-E4FFABAF57B5}" type="presParOf" srcId="{5F76922C-0332-49EF-8F19-DEC6BEEF0818}" destId="{625377C1-7CC0-4B75-BB1D-EE078D12A543}" srcOrd="4" destOrd="0" presId="urn:microsoft.com/office/officeart/2018/2/layout/IconVerticalSolidList"/>
    <dgm:cxn modelId="{5CE46AB2-52A0-4359-A284-1A0AE9020A07}" type="presParOf" srcId="{625377C1-7CC0-4B75-BB1D-EE078D12A543}" destId="{506EA9BE-631A-4744-84F2-825BF743D439}" srcOrd="0" destOrd="0" presId="urn:microsoft.com/office/officeart/2018/2/layout/IconVerticalSolidList"/>
    <dgm:cxn modelId="{6D17CE53-88BC-4284-A840-391B85FCB054}" type="presParOf" srcId="{625377C1-7CC0-4B75-BB1D-EE078D12A543}" destId="{4926D537-175D-4C02-87F0-AC7104C66423}" srcOrd="1" destOrd="0" presId="urn:microsoft.com/office/officeart/2018/2/layout/IconVerticalSolidList"/>
    <dgm:cxn modelId="{AF675070-014F-45E8-9E3E-A6486ADDCA75}" type="presParOf" srcId="{625377C1-7CC0-4B75-BB1D-EE078D12A543}" destId="{EEC35B03-9603-4FC9-8C46-325DD9A92F37}" srcOrd="2" destOrd="0" presId="urn:microsoft.com/office/officeart/2018/2/layout/IconVerticalSolidList"/>
    <dgm:cxn modelId="{3DDE8EB7-E90C-4B1D-A486-7693BAA33D5A}" type="presParOf" srcId="{625377C1-7CC0-4B75-BB1D-EE078D12A543}" destId="{CB711872-A3F5-4E13-A9A5-9E5A59FD10E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580115-D7BD-4A12-A5B1-463395483E59}" type="doc">
      <dgm:prSet loTypeId="urn:microsoft.com/office/officeart/2005/8/layout/hList1" loCatId="list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de-DE"/>
        </a:p>
      </dgm:t>
    </dgm:pt>
    <dgm:pt modelId="{34F1A675-DF6A-4DE9-BBB8-199CCF65FB22}">
      <dgm:prSet/>
      <dgm:spPr/>
      <dgm:t>
        <a:bodyPr/>
        <a:lstStyle/>
        <a:p>
          <a:r>
            <a:rPr lang="de-DE"/>
            <a:t>Datensatz: Condition Based Maintenance of Naval Propulsion Plants</a:t>
          </a:r>
          <a:r>
            <a:rPr lang="de-DE" baseline="30000"/>
            <a:t>1</a:t>
          </a:r>
          <a:endParaRPr lang="de-DE"/>
        </a:p>
      </dgm:t>
    </dgm:pt>
    <dgm:pt modelId="{245E78EF-206F-4DC7-8F3B-BB6653971E17}" type="parTrans" cxnId="{896AC860-E525-485F-AF49-3B0626D194D2}">
      <dgm:prSet/>
      <dgm:spPr/>
      <dgm:t>
        <a:bodyPr/>
        <a:lstStyle/>
        <a:p>
          <a:endParaRPr lang="de-DE"/>
        </a:p>
      </dgm:t>
    </dgm:pt>
    <dgm:pt modelId="{BB44F7D1-54C9-48D7-B56B-997A60BAA548}" type="sibTrans" cxnId="{896AC860-E525-485F-AF49-3B0626D194D2}">
      <dgm:prSet/>
      <dgm:spPr/>
      <dgm:t>
        <a:bodyPr/>
        <a:lstStyle/>
        <a:p>
          <a:endParaRPr lang="de-DE"/>
        </a:p>
      </dgm:t>
    </dgm:pt>
    <dgm:pt modelId="{B717AFE1-5093-45B4-865E-956C410C5CE3}">
      <dgm:prSet/>
      <dgm:spPr/>
      <dgm:t>
        <a:bodyPr/>
        <a:lstStyle/>
        <a:p>
          <a:r>
            <a:rPr lang="de-DE"/>
            <a:t>Anhand einer Simulation erstellt</a:t>
          </a:r>
        </a:p>
      </dgm:t>
    </dgm:pt>
    <dgm:pt modelId="{AFFACDF4-333E-4CC7-A26D-22019BFEC6D6}" type="parTrans" cxnId="{7B7F0B8E-85A7-4E88-AA0D-F3E5D3C72226}">
      <dgm:prSet/>
      <dgm:spPr/>
      <dgm:t>
        <a:bodyPr/>
        <a:lstStyle/>
        <a:p>
          <a:endParaRPr lang="de-DE"/>
        </a:p>
      </dgm:t>
    </dgm:pt>
    <dgm:pt modelId="{A760C20F-2561-40F4-A8A9-F5F72F8AB504}" type="sibTrans" cxnId="{7B7F0B8E-85A7-4E88-AA0D-F3E5D3C72226}">
      <dgm:prSet/>
      <dgm:spPr/>
      <dgm:t>
        <a:bodyPr/>
        <a:lstStyle/>
        <a:p>
          <a:endParaRPr lang="de-DE"/>
        </a:p>
      </dgm:t>
    </dgm:pt>
    <dgm:pt modelId="{F63A1E0C-F9EA-47B4-B8FF-7D8267842D07}">
      <dgm:prSet/>
      <dgm:spPr/>
      <dgm:t>
        <a:bodyPr/>
        <a:lstStyle/>
        <a:p>
          <a:r>
            <a:rPr lang="de-DE"/>
            <a:t>16 Attribute und zwei Zielvariablen: Zerfall von Schiffsturbine und –kompressor</a:t>
          </a:r>
        </a:p>
      </dgm:t>
    </dgm:pt>
    <dgm:pt modelId="{8FD9C337-D416-435C-9846-3E2ED380016B}" type="parTrans" cxnId="{BC5E012E-3FEB-4017-876C-185F2045D042}">
      <dgm:prSet/>
      <dgm:spPr/>
      <dgm:t>
        <a:bodyPr/>
        <a:lstStyle/>
        <a:p>
          <a:endParaRPr lang="de-DE"/>
        </a:p>
      </dgm:t>
    </dgm:pt>
    <dgm:pt modelId="{894EC8DF-0F49-4920-B103-309D2D256D38}" type="sibTrans" cxnId="{BC5E012E-3FEB-4017-876C-185F2045D042}">
      <dgm:prSet/>
      <dgm:spPr/>
      <dgm:t>
        <a:bodyPr/>
        <a:lstStyle/>
        <a:p>
          <a:endParaRPr lang="de-DE"/>
        </a:p>
      </dgm:t>
    </dgm:pt>
    <dgm:pt modelId="{97254110-3C51-490E-9B25-B47442639B64}">
      <dgm:prSet/>
      <dgm:spPr/>
      <dgm:t>
        <a:bodyPr/>
        <a:lstStyle/>
        <a:p>
          <a:r>
            <a:rPr lang="de-DE"/>
            <a:t>Stellung des Steuerungshebels</a:t>
          </a:r>
        </a:p>
      </dgm:t>
    </dgm:pt>
    <dgm:pt modelId="{88C2AD7C-E794-48BF-A34E-87B6C30D2A07}" type="parTrans" cxnId="{6DA68039-2B66-4E6D-9A41-E1A15D1048A4}">
      <dgm:prSet/>
      <dgm:spPr/>
      <dgm:t>
        <a:bodyPr/>
        <a:lstStyle/>
        <a:p>
          <a:endParaRPr lang="de-DE"/>
        </a:p>
      </dgm:t>
    </dgm:pt>
    <dgm:pt modelId="{0409E1DC-202D-4352-B850-84A13F7B1A43}" type="sibTrans" cxnId="{6DA68039-2B66-4E6D-9A41-E1A15D1048A4}">
      <dgm:prSet/>
      <dgm:spPr/>
      <dgm:t>
        <a:bodyPr/>
        <a:lstStyle/>
        <a:p>
          <a:endParaRPr lang="de-DE"/>
        </a:p>
      </dgm:t>
    </dgm:pt>
    <dgm:pt modelId="{479C3FEA-8803-4F26-93CA-6691BB63949F}">
      <dgm:prSet/>
      <dgm:spPr/>
      <dgm:t>
        <a:bodyPr/>
        <a:lstStyle/>
        <a:p>
          <a:r>
            <a:rPr lang="de-DE"/>
            <a:t>Schiffsgeschwindigkeit</a:t>
          </a:r>
        </a:p>
      </dgm:t>
    </dgm:pt>
    <dgm:pt modelId="{6687E830-2969-4CFF-B103-D7ECFA97E48B}" type="parTrans" cxnId="{82CB8ABF-4082-44C4-8F0B-F7D64EFF757B}">
      <dgm:prSet/>
      <dgm:spPr/>
      <dgm:t>
        <a:bodyPr/>
        <a:lstStyle/>
        <a:p>
          <a:endParaRPr lang="de-DE"/>
        </a:p>
      </dgm:t>
    </dgm:pt>
    <dgm:pt modelId="{4FB6177C-698C-4C55-9AA6-0BC1B320E258}" type="sibTrans" cxnId="{82CB8ABF-4082-44C4-8F0B-F7D64EFF757B}">
      <dgm:prSet/>
      <dgm:spPr/>
      <dgm:t>
        <a:bodyPr/>
        <a:lstStyle/>
        <a:p>
          <a:endParaRPr lang="de-DE"/>
        </a:p>
      </dgm:t>
    </dgm:pt>
    <dgm:pt modelId="{82FD7295-87E8-4BF1-8F88-8A89403F723A}">
      <dgm:prSet/>
      <dgm:spPr/>
      <dgm:t>
        <a:bodyPr/>
        <a:lstStyle/>
        <a:p>
          <a:r>
            <a:rPr lang="de-DE"/>
            <a:t>Wellendrehmoment der Gasturbine</a:t>
          </a:r>
        </a:p>
      </dgm:t>
    </dgm:pt>
    <dgm:pt modelId="{69EA2C5A-138B-4927-9DF6-D4BAF30FCEB9}" type="parTrans" cxnId="{0D6681BA-AE85-40D9-8267-3A348AB5DA12}">
      <dgm:prSet/>
      <dgm:spPr/>
      <dgm:t>
        <a:bodyPr/>
        <a:lstStyle/>
        <a:p>
          <a:endParaRPr lang="de-DE"/>
        </a:p>
      </dgm:t>
    </dgm:pt>
    <dgm:pt modelId="{D2B687AD-106F-40D0-BA5F-D0EC30D7C39E}" type="sibTrans" cxnId="{0D6681BA-AE85-40D9-8267-3A348AB5DA12}">
      <dgm:prSet/>
      <dgm:spPr/>
      <dgm:t>
        <a:bodyPr/>
        <a:lstStyle/>
        <a:p>
          <a:endParaRPr lang="de-DE"/>
        </a:p>
      </dgm:t>
    </dgm:pt>
    <dgm:pt modelId="{07A4C00C-9954-482D-8D42-1A71D3F27237}">
      <dgm:prSet/>
      <dgm:spPr/>
      <dgm:t>
        <a:bodyPr/>
        <a:lstStyle/>
        <a:p>
          <a:r>
            <a:rPr lang="de-DE"/>
            <a:t>Drehzahl der Gasturbine</a:t>
          </a:r>
        </a:p>
      </dgm:t>
    </dgm:pt>
    <dgm:pt modelId="{2DDC4658-42AB-4A3A-A28F-DC144A3D0704}" type="parTrans" cxnId="{7152692C-B5A0-467B-998C-11F19CADA039}">
      <dgm:prSet/>
      <dgm:spPr/>
      <dgm:t>
        <a:bodyPr/>
        <a:lstStyle/>
        <a:p>
          <a:endParaRPr lang="de-DE"/>
        </a:p>
      </dgm:t>
    </dgm:pt>
    <dgm:pt modelId="{A5420625-3436-4B4E-8B48-BC4D9547E377}" type="sibTrans" cxnId="{7152692C-B5A0-467B-998C-11F19CADA039}">
      <dgm:prSet/>
      <dgm:spPr/>
      <dgm:t>
        <a:bodyPr/>
        <a:lstStyle/>
        <a:p>
          <a:endParaRPr lang="de-DE"/>
        </a:p>
      </dgm:t>
    </dgm:pt>
    <dgm:pt modelId="{488C99FE-4E8E-4223-AA33-142ACD2EC30D}">
      <dgm:prSet/>
      <dgm:spPr/>
      <dgm:t>
        <a:bodyPr/>
        <a:lstStyle/>
        <a:p>
          <a:r>
            <a:rPr lang="de-DE"/>
            <a:t>Gas-Generator-Drehzahl</a:t>
          </a:r>
        </a:p>
      </dgm:t>
    </dgm:pt>
    <dgm:pt modelId="{D6E11266-E679-4057-A6F8-CEDB6392F646}" type="parTrans" cxnId="{994F6B89-893F-42A7-BC13-0EEEC22DF934}">
      <dgm:prSet/>
      <dgm:spPr/>
      <dgm:t>
        <a:bodyPr/>
        <a:lstStyle/>
        <a:p>
          <a:endParaRPr lang="de-DE"/>
        </a:p>
      </dgm:t>
    </dgm:pt>
    <dgm:pt modelId="{F2BD00F9-921B-4EAD-9E98-3ED03058A0F5}" type="sibTrans" cxnId="{994F6B89-893F-42A7-BC13-0EEEC22DF934}">
      <dgm:prSet/>
      <dgm:spPr/>
      <dgm:t>
        <a:bodyPr/>
        <a:lstStyle/>
        <a:p>
          <a:endParaRPr lang="de-DE"/>
        </a:p>
      </dgm:t>
    </dgm:pt>
    <dgm:pt modelId="{272C4E3C-9BD5-4BCC-9299-2B6F4BC294C7}">
      <dgm:prSet/>
      <dgm:spPr/>
      <dgm:t>
        <a:bodyPr/>
        <a:lstStyle/>
        <a:p>
          <a:r>
            <a:rPr lang="de-DE"/>
            <a:t>Steuerbord-Propeller-Drehmoment</a:t>
          </a:r>
        </a:p>
      </dgm:t>
    </dgm:pt>
    <dgm:pt modelId="{8DF93F2C-1524-46C8-B0F3-48A67D270F9C}" type="parTrans" cxnId="{F2F095F0-87ED-4CD2-8160-9BC12C2932BA}">
      <dgm:prSet/>
      <dgm:spPr/>
      <dgm:t>
        <a:bodyPr/>
        <a:lstStyle/>
        <a:p>
          <a:endParaRPr lang="de-DE"/>
        </a:p>
      </dgm:t>
    </dgm:pt>
    <dgm:pt modelId="{82DB7E59-7EF2-4926-BC6B-0B672842C737}" type="sibTrans" cxnId="{F2F095F0-87ED-4CD2-8160-9BC12C2932BA}">
      <dgm:prSet/>
      <dgm:spPr/>
      <dgm:t>
        <a:bodyPr/>
        <a:lstStyle/>
        <a:p>
          <a:endParaRPr lang="de-DE"/>
        </a:p>
      </dgm:t>
    </dgm:pt>
    <dgm:pt modelId="{3D32C441-71FB-43F4-83CD-8772829A2A66}">
      <dgm:prSet/>
      <dgm:spPr/>
      <dgm:t>
        <a:bodyPr/>
        <a:lstStyle/>
        <a:p>
          <a:r>
            <a:rPr lang="de-DE"/>
            <a:t>Backbord-Propeller-Drehmoment</a:t>
          </a:r>
        </a:p>
      </dgm:t>
    </dgm:pt>
    <dgm:pt modelId="{D5592204-55D1-4369-B262-C407859FC560}" type="parTrans" cxnId="{323F2F07-D26B-4ACE-97B4-CF9F2FDF8A86}">
      <dgm:prSet/>
      <dgm:spPr/>
      <dgm:t>
        <a:bodyPr/>
        <a:lstStyle/>
        <a:p>
          <a:endParaRPr lang="de-DE"/>
        </a:p>
      </dgm:t>
    </dgm:pt>
    <dgm:pt modelId="{5714651B-9A8B-4ED1-A7F2-FCCB08D0ED00}" type="sibTrans" cxnId="{323F2F07-D26B-4ACE-97B4-CF9F2FDF8A86}">
      <dgm:prSet/>
      <dgm:spPr/>
      <dgm:t>
        <a:bodyPr/>
        <a:lstStyle/>
        <a:p>
          <a:endParaRPr lang="de-DE"/>
        </a:p>
      </dgm:t>
    </dgm:pt>
    <dgm:pt modelId="{E648B9B9-2B4E-42D9-820A-BCCB15784AB1}">
      <dgm:prSet/>
      <dgm:spPr/>
      <dgm:t>
        <a:bodyPr/>
        <a:lstStyle/>
        <a:p>
          <a:r>
            <a:rPr lang="de-DE" dirty="0"/>
            <a:t>Turbinenaustrittstemperatur</a:t>
          </a:r>
        </a:p>
      </dgm:t>
    </dgm:pt>
    <dgm:pt modelId="{77D662CC-31D5-4632-8FFF-F4B2A13B57C7}" type="parTrans" cxnId="{78131A97-64A9-42A7-9988-76A774AC9706}">
      <dgm:prSet/>
      <dgm:spPr/>
      <dgm:t>
        <a:bodyPr/>
        <a:lstStyle/>
        <a:p>
          <a:endParaRPr lang="de-DE"/>
        </a:p>
      </dgm:t>
    </dgm:pt>
    <dgm:pt modelId="{5FDAE42E-2378-4B1C-A0F8-7E5880BDF422}" type="sibTrans" cxnId="{78131A97-64A9-42A7-9988-76A774AC9706}">
      <dgm:prSet/>
      <dgm:spPr/>
      <dgm:t>
        <a:bodyPr/>
        <a:lstStyle/>
        <a:p>
          <a:endParaRPr lang="de-DE"/>
        </a:p>
      </dgm:t>
    </dgm:pt>
    <dgm:pt modelId="{19147F3C-0413-4F0E-AD24-8BB733655EFD}">
      <dgm:prSet/>
      <dgm:spPr/>
      <dgm:t>
        <a:bodyPr/>
        <a:lstStyle/>
        <a:p>
          <a:r>
            <a:rPr lang="de-DE"/>
            <a:t>Eintrittslufttemperatur des Verdichters der Gasturbine</a:t>
          </a:r>
        </a:p>
      </dgm:t>
    </dgm:pt>
    <dgm:pt modelId="{9B212E70-9833-43D9-8789-DED5FB9F3354}" type="parTrans" cxnId="{E4D131DA-685E-4099-97E2-6EE24319DA38}">
      <dgm:prSet/>
      <dgm:spPr/>
      <dgm:t>
        <a:bodyPr/>
        <a:lstStyle/>
        <a:p>
          <a:endParaRPr lang="de-DE"/>
        </a:p>
      </dgm:t>
    </dgm:pt>
    <dgm:pt modelId="{63709392-D50F-45AF-8801-3665BFEF5DA2}" type="sibTrans" cxnId="{E4D131DA-685E-4099-97E2-6EE24319DA38}">
      <dgm:prSet/>
      <dgm:spPr/>
      <dgm:t>
        <a:bodyPr/>
        <a:lstStyle/>
        <a:p>
          <a:endParaRPr lang="de-DE"/>
        </a:p>
      </dgm:t>
    </dgm:pt>
    <dgm:pt modelId="{2512E185-4C96-48DE-88EC-D795438AB73D}">
      <dgm:prSet/>
      <dgm:spPr/>
      <dgm:t>
        <a:bodyPr/>
        <a:lstStyle/>
        <a:p>
          <a:r>
            <a:rPr lang="de-DE"/>
            <a:t>Austrittslufttemperatur des Verdichters der Gasturbine</a:t>
          </a:r>
        </a:p>
      </dgm:t>
    </dgm:pt>
    <dgm:pt modelId="{1D8BB09A-E592-46E4-9221-33A49884AB9B}" type="parTrans" cxnId="{35DF1A01-C35B-40E6-ADF2-31E44608AB83}">
      <dgm:prSet/>
      <dgm:spPr/>
      <dgm:t>
        <a:bodyPr/>
        <a:lstStyle/>
        <a:p>
          <a:endParaRPr lang="de-DE"/>
        </a:p>
      </dgm:t>
    </dgm:pt>
    <dgm:pt modelId="{CD79ABF3-5A26-45E6-B347-F45981FBE35C}" type="sibTrans" cxnId="{35DF1A01-C35B-40E6-ADF2-31E44608AB83}">
      <dgm:prSet/>
      <dgm:spPr/>
      <dgm:t>
        <a:bodyPr/>
        <a:lstStyle/>
        <a:p>
          <a:endParaRPr lang="de-DE"/>
        </a:p>
      </dgm:t>
    </dgm:pt>
    <dgm:pt modelId="{98D4F1D6-89C8-40C5-A645-308FDEB62D9B}">
      <dgm:prSet/>
      <dgm:spPr/>
      <dgm:t>
        <a:bodyPr/>
        <a:lstStyle/>
        <a:p>
          <a:r>
            <a:rPr lang="de-DE"/>
            <a:t>Turbinenaustrittstemperatur</a:t>
          </a:r>
        </a:p>
      </dgm:t>
    </dgm:pt>
    <dgm:pt modelId="{2E008547-8DF0-41D5-A34B-E974309CDD00}" type="parTrans" cxnId="{97B7AC1E-2395-4A39-A8C0-A7F240CF6516}">
      <dgm:prSet/>
      <dgm:spPr/>
      <dgm:t>
        <a:bodyPr/>
        <a:lstStyle/>
        <a:p>
          <a:endParaRPr lang="de-DE"/>
        </a:p>
      </dgm:t>
    </dgm:pt>
    <dgm:pt modelId="{85A6F387-F46C-422A-913A-FFE43E5E56CF}" type="sibTrans" cxnId="{97B7AC1E-2395-4A39-A8C0-A7F240CF6516}">
      <dgm:prSet/>
      <dgm:spPr/>
      <dgm:t>
        <a:bodyPr/>
        <a:lstStyle/>
        <a:p>
          <a:endParaRPr lang="de-DE"/>
        </a:p>
      </dgm:t>
    </dgm:pt>
    <dgm:pt modelId="{A11176C3-7282-447D-9723-64C9E132F09F}">
      <dgm:prSet/>
      <dgm:spPr/>
      <dgm:t>
        <a:bodyPr/>
        <a:lstStyle/>
        <a:p>
          <a:r>
            <a:rPr lang="de-DE"/>
            <a:t>Lufteingangsdruck des Verdichters</a:t>
          </a:r>
        </a:p>
      </dgm:t>
    </dgm:pt>
    <dgm:pt modelId="{01D74AA6-D31C-45C8-9858-9D24D45D3AC6}" type="parTrans" cxnId="{F6DCEFE0-D30C-4981-A77E-BB10D149C1CE}">
      <dgm:prSet/>
      <dgm:spPr/>
      <dgm:t>
        <a:bodyPr/>
        <a:lstStyle/>
        <a:p>
          <a:endParaRPr lang="de-DE"/>
        </a:p>
      </dgm:t>
    </dgm:pt>
    <dgm:pt modelId="{7270A6E7-8B1F-4677-AB05-830C1E74E4F4}" type="sibTrans" cxnId="{F6DCEFE0-D30C-4981-A77E-BB10D149C1CE}">
      <dgm:prSet/>
      <dgm:spPr/>
      <dgm:t>
        <a:bodyPr/>
        <a:lstStyle/>
        <a:p>
          <a:endParaRPr lang="de-DE"/>
        </a:p>
      </dgm:t>
    </dgm:pt>
    <dgm:pt modelId="{C8342451-BA15-4693-BCDB-FB57D846991E}">
      <dgm:prSet/>
      <dgm:spPr/>
      <dgm:t>
        <a:bodyPr/>
        <a:lstStyle/>
        <a:p>
          <a:r>
            <a:rPr lang="de-DE"/>
            <a:t>Verdichterausgangsdruck</a:t>
          </a:r>
        </a:p>
      </dgm:t>
    </dgm:pt>
    <dgm:pt modelId="{3066C9F1-59F5-412C-9387-F555BF85ACA1}" type="parTrans" cxnId="{B82A5279-18A8-4217-8CAE-E264AF510BFE}">
      <dgm:prSet/>
      <dgm:spPr/>
      <dgm:t>
        <a:bodyPr/>
        <a:lstStyle/>
        <a:p>
          <a:endParaRPr lang="de-DE"/>
        </a:p>
      </dgm:t>
    </dgm:pt>
    <dgm:pt modelId="{9E7ECEF6-910F-424F-9898-28DCD51D2313}" type="sibTrans" cxnId="{B82A5279-18A8-4217-8CAE-E264AF510BFE}">
      <dgm:prSet/>
      <dgm:spPr/>
      <dgm:t>
        <a:bodyPr/>
        <a:lstStyle/>
        <a:p>
          <a:endParaRPr lang="de-DE"/>
        </a:p>
      </dgm:t>
    </dgm:pt>
    <dgm:pt modelId="{CF80C8C2-DD41-4554-8885-E22D06077470}">
      <dgm:prSet/>
      <dgm:spPr/>
      <dgm:t>
        <a:bodyPr/>
        <a:lstStyle/>
        <a:p>
          <a:r>
            <a:rPr lang="de-DE"/>
            <a:t>Abgasdruck der Gasturbine</a:t>
          </a:r>
        </a:p>
      </dgm:t>
    </dgm:pt>
    <dgm:pt modelId="{14D46971-4525-4027-A500-4634CA953B6B}" type="parTrans" cxnId="{3ADC177E-E602-42FA-9750-24D20B6027D6}">
      <dgm:prSet/>
      <dgm:spPr/>
      <dgm:t>
        <a:bodyPr/>
        <a:lstStyle/>
        <a:p>
          <a:endParaRPr lang="de-DE"/>
        </a:p>
      </dgm:t>
    </dgm:pt>
    <dgm:pt modelId="{44FF861E-EEA9-4B9D-AFCE-B570804B6293}" type="sibTrans" cxnId="{3ADC177E-E602-42FA-9750-24D20B6027D6}">
      <dgm:prSet/>
      <dgm:spPr/>
      <dgm:t>
        <a:bodyPr/>
        <a:lstStyle/>
        <a:p>
          <a:endParaRPr lang="de-DE"/>
        </a:p>
      </dgm:t>
    </dgm:pt>
    <dgm:pt modelId="{5E72A5E7-8BF1-4848-A8F2-8556A9AF7995}">
      <dgm:prSet/>
      <dgm:spPr/>
      <dgm:t>
        <a:bodyPr/>
        <a:lstStyle/>
        <a:p>
          <a:r>
            <a:rPr lang="de-DE"/>
            <a:t>Turbinen-Einspritzregelung</a:t>
          </a:r>
        </a:p>
      </dgm:t>
    </dgm:pt>
    <dgm:pt modelId="{9B42C887-49CF-4C65-91E9-9C55A940A867}" type="parTrans" cxnId="{2550A1EF-BA3A-4565-9E98-AED73936FA6C}">
      <dgm:prSet/>
      <dgm:spPr/>
      <dgm:t>
        <a:bodyPr/>
        <a:lstStyle/>
        <a:p>
          <a:endParaRPr lang="de-DE"/>
        </a:p>
      </dgm:t>
    </dgm:pt>
    <dgm:pt modelId="{9F935412-3910-445E-8018-F5497ED65CA5}" type="sibTrans" cxnId="{2550A1EF-BA3A-4565-9E98-AED73936FA6C}">
      <dgm:prSet/>
      <dgm:spPr/>
      <dgm:t>
        <a:bodyPr/>
        <a:lstStyle/>
        <a:p>
          <a:endParaRPr lang="de-DE"/>
        </a:p>
      </dgm:t>
    </dgm:pt>
    <dgm:pt modelId="{4F143F5E-37A5-4C29-B777-C71A7EA33364}">
      <dgm:prSet/>
      <dgm:spPr/>
      <dgm:t>
        <a:bodyPr/>
        <a:lstStyle/>
        <a:p>
          <a:r>
            <a:rPr lang="de-DE"/>
            <a:t>Kraftstoffdurchsatz</a:t>
          </a:r>
        </a:p>
      </dgm:t>
    </dgm:pt>
    <dgm:pt modelId="{B47C3822-B2DF-45A0-BF14-166937B9E30D}" type="parTrans" cxnId="{D78B0BC2-212D-48B7-89E3-33D34068D8BC}">
      <dgm:prSet/>
      <dgm:spPr/>
      <dgm:t>
        <a:bodyPr/>
        <a:lstStyle/>
        <a:p>
          <a:endParaRPr lang="de-DE"/>
        </a:p>
      </dgm:t>
    </dgm:pt>
    <dgm:pt modelId="{7B8D5062-56DF-44E9-B88A-87F3E2423225}" type="sibTrans" cxnId="{D78B0BC2-212D-48B7-89E3-33D34068D8BC}">
      <dgm:prSet/>
      <dgm:spPr/>
      <dgm:t>
        <a:bodyPr/>
        <a:lstStyle/>
        <a:p>
          <a:endParaRPr lang="de-DE"/>
        </a:p>
      </dgm:t>
    </dgm:pt>
    <dgm:pt modelId="{E95B80CF-7129-4C57-A97A-F43F98696762}" type="pres">
      <dgm:prSet presAssocID="{1D580115-D7BD-4A12-A5B1-463395483E59}" presName="Name0" presStyleCnt="0">
        <dgm:presLayoutVars>
          <dgm:dir/>
          <dgm:animLvl val="lvl"/>
          <dgm:resizeHandles val="exact"/>
        </dgm:presLayoutVars>
      </dgm:prSet>
      <dgm:spPr/>
    </dgm:pt>
    <dgm:pt modelId="{3969B0D2-494F-4E48-8D3E-3CA500729999}" type="pres">
      <dgm:prSet presAssocID="{34F1A675-DF6A-4DE9-BBB8-199CCF65FB22}" presName="composite" presStyleCnt="0"/>
      <dgm:spPr/>
    </dgm:pt>
    <dgm:pt modelId="{2CBC4D22-B71A-4330-9271-ABE8302BCA46}" type="pres">
      <dgm:prSet presAssocID="{34F1A675-DF6A-4DE9-BBB8-199CCF65FB22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D32E1AB2-FF4F-492C-A791-033C8D28C91B}" type="pres">
      <dgm:prSet presAssocID="{34F1A675-DF6A-4DE9-BBB8-199CCF65FB22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35DF1A01-C35B-40E6-ADF2-31E44608AB83}" srcId="{F63A1E0C-F9EA-47B4-B8FF-7D8267842D07}" destId="{2512E185-4C96-48DE-88EC-D795438AB73D}" srcOrd="9" destOrd="0" parTransId="{1D8BB09A-E592-46E4-9221-33A49884AB9B}" sibTransId="{CD79ABF3-5A26-45E6-B347-F45981FBE35C}"/>
    <dgm:cxn modelId="{323F2F07-D26B-4ACE-97B4-CF9F2FDF8A86}" srcId="{F63A1E0C-F9EA-47B4-B8FF-7D8267842D07}" destId="{3D32C441-71FB-43F4-83CD-8772829A2A66}" srcOrd="6" destOrd="0" parTransId="{D5592204-55D1-4369-B262-C407859FC560}" sibTransId="{5714651B-9A8B-4ED1-A7F2-FCCB08D0ED00}"/>
    <dgm:cxn modelId="{AD6CF708-7AB1-411F-84C4-9B4067F6CD85}" type="presOf" srcId="{19147F3C-0413-4F0E-AD24-8BB733655EFD}" destId="{D32E1AB2-FF4F-492C-A791-033C8D28C91B}" srcOrd="0" destOrd="10" presId="urn:microsoft.com/office/officeart/2005/8/layout/hList1"/>
    <dgm:cxn modelId="{A25F920A-4F23-4F30-9DE1-78F1238F99DB}" type="presOf" srcId="{3D32C441-71FB-43F4-83CD-8772829A2A66}" destId="{D32E1AB2-FF4F-492C-A791-033C8D28C91B}" srcOrd="0" destOrd="8" presId="urn:microsoft.com/office/officeart/2005/8/layout/hList1"/>
    <dgm:cxn modelId="{97B7AC1E-2395-4A39-A8C0-A7F240CF6516}" srcId="{F63A1E0C-F9EA-47B4-B8FF-7D8267842D07}" destId="{98D4F1D6-89C8-40C5-A645-308FDEB62D9B}" srcOrd="10" destOrd="0" parTransId="{2E008547-8DF0-41D5-A34B-E974309CDD00}" sibTransId="{85A6F387-F46C-422A-913A-FFE43E5E56CF}"/>
    <dgm:cxn modelId="{7152692C-B5A0-467B-998C-11F19CADA039}" srcId="{F63A1E0C-F9EA-47B4-B8FF-7D8267842D07}" destId="{07A4C00C-9954-482D-8D42-1A71D3F27237}" srcOrd="3" destOrd="0" parTransId="{2DDC4658-42AB-4A3A-A28F-DC144A3D0704}" sibTransId="{A5420625-3436-4B4E-8B48-BC4D9547E377}"/>
    <dgm:cxn modelId="{63A4362D-28B9-4C0D-AFEE-7955F9DCC02A}" type="presOf" srcId="{B717AFE1-5093-45B4-865E-956C410C5CE3}" destId="{D32E1AB2-FF4F-492C-A791-033C8D28C91B}" srcOrd="0" destOrd="0" presId="urn:microsoft.com/office/officeart/2005/8/layout/hList1"/>
    <dgm:cxn modelId="{BC5E012E-3FEB-4017-876C-185F2045D042}" srcId="{34F1A675-DF6A-4DE9-BBB8-199CCF65FB22}" destId="{F63A1E0C-F9EA-47B4-B8FF-7D8267842D07}" srcOrd="1" destOrd="0" parTransId="{8FD9C337-D416-435C-9846-3E2ED380016B}" sibTransId="{894EC8DF-0F49-4920-B103-309D2D256D38}"/>
    <dgm:cxn modelId="{72866C34-15FE-4616-8952-33CDBAB1A680}" type="presOf" srcId="{C8342451-BA15-4693-BCDB-FB57D846991E}" destId="{D32E1AB2-FF4F-492C-A791-033C8D28C91B}" srcOrd="0" destOrd="14" presId="urn:microsoft.com/office/officeart/2005/8/layout/hList1"/>
    <dgm:cxn modelId="{6DA68039-2B66-4E6D-9A41-E1A15D1048A4}" srcId="{F63A1E0C-F9EA-47B4-B8FF-7D8267842D07}" destId="{97254110-3C51-490E-9B25-B47442639B64}" srcOrd="0" destOrd="0" parTransId="{88C2AD7C-E794-48BF-A34E-87B6C30D2A07}" sibTransId="{0409E1DC-202D-4352-B850-84A13F7B1A43}"/>
    <dgm:cxn modelId="{AE3F2F3E-9BA3-4087-88E5-680DB5051228}" type="presOf" srcId="{CF80C8C2-DD41-4554-8885-E22D06077470}" destId="{D32E1AB2-FF4F-492C-A791-033C8D28C91B}" srcOrd="0" destOrd="15" presId="urn:microsoft.com/office/officeart/2005/8/layout/hList1"/>
    <dgm:cxn modelId="{AB13065D-5432-4BAE-B2F2-81EBB1F2A123}" type="presOf" srcId="{98D4F1D6-89C8-40C5-A645-308FDEB62D9B}" destId="{D32E1AB2-FF4F-492C-A791-033C8D28C91B}" srcOrd="0" destOrd="12" presId="urn:microsoft.com/office/officeart/2005/8/layout/hList1"/>
    <dgm:cxn modelId="{896AC860-E525-485F-AF49-3B0626D194D2}" srcId="{1D580115-D7BD-4A12-A5B1-463395483E59}" destId="{34F1A675-DF6A-4DE9-BBB8-199CCF65FB22}" srcOrd="0" destOrd="0" parTransId="{245E78EF-206F-4DC7-8F3B-BB6653971E17}" sibTransId="{BB44F7D1-54C9-48D7-B56B-997A60BAA548}"/>
    <dgm:cxn modelId="{FF5BB764-66F0-4894-9B9F-91B7AD4AE982}" type="presOf" srcId="{488C99FE-4E8E-4223-AA33-142ACD2EC30D}" destId="{D32E1AB2-FF4F-492C-A791-033C8D28C91B}" srcOrd="0" destOrd="6" presId="urn:microsoft.com/office/officeart/2005/8/layout/hList1"/>
    <dgm:cxn modelId="{538FF964-9502-458D-9B5B-BC4520B0D526}" type="presOf" srcId="{82FD7295-87E8-4BF1-8F88-8A89403F723A}" destId="{D32E1AB2-FF4F-492C-A791-033C8D28C91B}" srcOrd="0" destOrd="4" presId="urn:microsoft.com/office/officeart/2005/8/layout/hList1"/>
    <dgm:cxn modelId="{8A49EE70-2773-4730-816E-E0CF2336C731}" type="presOf" srcId="{A11176C3-7282-447D-9723-64C9E132F09F}" destId="{D32E1AB2-FF4F-492C-A791-033C8D28C91B}" srcOrd="0" destOrd="13" presId="urn:microsoft.com/office/officeart/2005/8/layout/hList1"/>
    <dgm:cxn modelId="{836C4776-C135-4332-8881-61D4A2C1F228}" type="presOf" srcId="{272C4E3C-9BD5-4BCC-9299-2B6F4BC294C7}" destId="{D32E1AB2-FF4F-492C-A791-033C8D28C91B}" srcOrd="0" destOrd="7" presId="urn:microsoft.com/office/officeart/2005/8/layout/hList1"/>
    <dgm:cxn modelId="{451F7976-D402-4796-9C30-A442B44D0069}" type="presOf" srcId="{34F1A675-DF6A-4DE9-BBB8-199CCF65FB22}" destId="{2CBC4D22-B71A-4330-9271-ABE8302BCA46}" srcOrd="0" destOrd="0" presId="urn:microsoft.com/office/officeart/2005/8/layout/hList1"/>
    <dgm:cxn modelId="{B82A5279-18A8-4217-8CAE-E264AF510BFE}" srcId="{F63A1E0C-F9EA-47B4-B8FF-7D8267842D07}" destId="{C8342451-BA15-4693-BCDB-FB57D846991E}" srcOrd="12" destOrd="0" parTransId="{3066C9F1-59F5-412C-9387-F555BF85ACA1}" sibTransId="{9E7ECEF6-910F-424F-9898-28DCD51D2313}"/>
    <dgm:cxn modelId="{3ADC177E-E602-42FA-9750-24D20B6027D6}" srcId="{F63A1E0C-F9EA-47B4-B8FF-7D8267842D07}" destId="{CF80C8C2-DD41-4554-8885-E22D06077470}" srcOrd="13" destOrd="0" parTransId="{14D46971-4525-4027-A500-4634CA953B6B}" sibTransId="{44FF861E-EEA9-4B9D-AFCE-B570804B6293}"/>
    <dgm:cxn modelId="{994F6B89-893F-42A7-BC13-0EEEC22DF934}" srcId="{F63A1E0C-F9EA-47B4-B8FF-7D8267842D07}" destId="{488C99FE-4E8E-4223-AA33-142ACD2EC30D}" srcOrd="4" destOrd="0" parTransId="{D6E11266-E679-4057-A6F8-CEDB6392F646}" sibTransId="{F2BD00F9-921B-4EAD-9E98-3ED03058A0F5}"/>
    <dgm:cxn modelId="{7B7F0B8E-85A7-4E88-AA0D-F3E5D3C72226}" srcId="{34F1A675-DF6A-4DE9-BBB8-199CCF65FB22}" destId="{B717AFE1-5093-45B4-865E-956C410C5CE3}" srcOrd="0" destOrd="0" parTransId="{AFFACDF4-333E-4CC7-A26D-22019BFEC6D6}" sibTransId="{A760C20F-2561-40F4-A8A9-F5F72F8AB504}"/>
    <dgm:cxn modelId="{9719FF8F-1F35-4589-93CA-578FC336FC97}" type="presOf" srcId="{07A4C00C-9954-482D-8D42-1A71D3F27237}" destId="{D32E1AB2-FF4F-492C-A791-033C8D28C91B}" srcOrd="0" destOrd="5" presId="urn:microsoft.com/office/officeart/2005/8/layout/hList1"/>
    <dgm:cxn modelId="{24253094-65FD-4EC8-B1BE-74520D0EC7B2}" type="presOf" srcId="{2512E185-4C96-48DE-88EC-D795438AB73D}" destId="{D32E1AB2-FF4F-492C-A791-033C8D28C91B}" srcOrd="0" destOrd="11" presId="urn:microsoft.com/office/officeart/2005/8/layout/hList1"/>
    <dgm:cxn modelId="{78131A97-64A9-42A7-9988-76A774AC9706}" srcId="{F63A1E0C-F9EA-47B4-B8FF-7D8267842D07}" destId="{E648B9B9-2B4E-42D9-820A-BCCB15784AB1}" srcOrd="7" destOrd="0" parTransId="{77D662CC-31D5-4632-8FFF-F4B2A13B57C7}" sibTransId="{5FDAE42E-2378-4B1C-A0F8-7E5880BDF422}"/>
    <dgm:cxn modelId="{0B803D99-6B24-4781-9AC4-B43192535939}" type="presOf" srcId="{479C3FEA-8803-4F26-93CA-6691BB63949F}" destId="{D32E1AB2-FF4F-492C-A791-033C8D28C91B}" srcOrd="0" destOrd="3" presId="urn:microsoft.com/office/officeart/2005/8/layout/hList1"/>
    <dgm:cxn modelId="{99F683A3-394D-49BE-B152-E5787BD61A26}" type="presOf" srcId="{1D580115-D7BD-4A12-A5B1-463395483E59}" destId="{E95B80CF-7129-4C57-A97A-F43F98696762}" srcOrd="0" destOrd="0" presId="urn:microsoft.com/office/officeart/2005/8/layout/hList1"/>
    <dgm:cxn modelId="{FEDCCFB4-B450-4C53-93D8-E10699D34AB1}" type="presOf" srcId="{4F143F5E-37A5-4C29-B777-C71A7EA33364}" destId="{D32E1AB2-FF4F-492C-A791-033C8D28C91B}" srcOrd="0" destOrd="17" presId="urn:microsoft.com/office/officeart/2005/8/layout/hList1"/>
    <dgm:cxn modelId="{0D6681BA-AE85-40D9-8267-3A348AB5DA12}" srcId="{F63A1E0C-F9EA-47B4-B8FF-7D8267842D07}" destId="{82FD7295-87E8-4BF1-8F88-8A89403F723A}" srcOrd="2" destOrd="0" parTransId="{69EA2C5A-138B-4927-9DF6-D4BAF30FCEB9}" sibTransId="{D2B687AD-106F-40D0-BA5F-D0EC30D7C39E}"/>
    <dgm:cxn modelId="{82CB8ABF-4082-44C4-8F0B-F7D64EFF757B}" srcId="{F63A1E0C-F9EA-47B4-B8FF-7D8267842D07}" destId="{479C3FEA-8803-4F26-93CA-6691BB63949F}" srcOrd="1" destOrd="0" parTransId="{6687E830-2969-4CFF-B103-D7ECFA97E48B}" sibTransId="{4FB6177C-698C-4C55-9AA6-0BC1B320E258}"/>
    <dgm:cxn modelId="{D78B0BC2-212D-48B7-89E3-33D34068D8BC}" srcId="{F63A1E0C-F9EA-47B4-B8FF-7D8267842D07}" destId="{4F143F5E-37A5-4C29-B777-C71A7EA33364}" srcOrd="15" destOrd="0" parTransId="{B47C3822-B2DF-45A0-BF14-166937B9E30D}" sibTransId="{7B8D5062-56DF-44E9-B88A-87F3E2423225}"/>
    <dgm:cxn modelId="{D71892C5-C5D6-4F7A-85DC-B7FC2E0E2285}" type="presOf" srcId="{5E72A5E7-8BF1-4848-A8F2-8556A9AF7995}" destId="{D32E1AB2-FF4F-492C-A791-033C8D28C91B}" srcOrd="0" destOrd="16" presId="urn:microsoft.com/office/officeart/2005/8/layout/hList1"/>
    <dgm:cxn modelId="{E4D131DA-685E-4099-97E2-6EE24319DA38}" srcId="{F63A1E0C-F9EA-47B4-B8FF-7D8267842D07}" destId="{19147F3C-0413-4F0E-AD24-8BB733655EFD}" srcOrd="8" destOrd="0" parTransId="{9B212E70-9833-43D9-8789-DED5FB9F3354}" sibTransId="{63709392-D50F-45AF-8801-3665BFEF5DA2}"/>
    <dgm:cxn modelId="{5B1503DD-6382-4AAD-B75E-C1F637C8FEAD}" type="presOf" srcId="{F63A1E0C-F9EA-47B4-B8FF-7D8267842D07}" destId="{D32E1AB2-FF4F-492C-A791-033C8D28C91B}" srcOrd="0" destOrd="1" presId="urn:microsoft.com/office/officeart/2005/8/layout/hList1"/>
    <dgm:cxn modelId="{F6DCEFE0-D30C-4981-A77E-BB10D149C1CE}" srcId="{F63A1E0C-F9EA-47B4-B8FF-7D8267842D07}" destId="{A11176C3-7282-447D-9723-64C9E132F09F}" srcOrd="11" destOrd="0" parTransId="{01D74AA6-D31C-45C8-9858-9D24D45D3AC6}" sibTransId="{7270A6E7-8B1F-4677-AB05-830C1E74E4F4}"/>
    <dgm:cxn modelId="{2550A1EF-BA3A-4565-9E98-AED73936FA6C}" srcId="{F63A1E0C-F9EA-47B4-B8FF-7D8267842D07}" destId="{5E72A5E7-8BF1-4848-A8F2-8556A9AF7995}" srcOrd="14" destOrd="0" parTransId="{9B42C887-49CF-4C65-91E9-9C55A940A867}" sibTransId="{9F935412-3910-445E-8018-F5497ED65CA5}"/>
    <dgm:cxn modelId="{F2F095F0-87ED-4CD2-8160-9BC12C2932BA}" srcId="{F63A1E0C-F9EA-47B4-B8FF-7D8267842D07}" destId="{272C4E3C-9BD5-4BCC-9299-2B6F4BC294C7}" srcOrd="5" destOrd="0" parTransId="{8DF93F2C-1524-46C8-B0F3-48A67D270F9C}" sibTransId="{82DB7E59-7EF2-4926-BC6B-0B672842C737}"/>
    <dgm:cxn modelId="{9AED80F8-AFA4-4C3C-839E-573F2B961EB2}" type="presOf" srcId="{97254110-3C51-490E-9B25-B47442639B64}" destId="{D32E1AB2-FF4F-492C-A791-033C8D28C91B}" srcOrd="0" destOrd="2" presId="urn:microsoft.com/office/officeart/2005/8/layout/hList1"/>
    <dgm:cxn modelId="{CDC0B5FF-0E01-436B-92B2-A16BE7A4094A}" type="presOf" srcId="{E648B9B9-2B4E-42D9-820A-BCCB15784AB1}" destId="{D32E1AB2-FF4F-492C-A791-033C8D28C91B}" srcOrd="0" destOrd="9" presId="urn:microsoft.com/office/officeart/2005/8/layout/hList1"/>
    <dgm:cxn modelId="{53AE2293-EAFE-4A47-9122-8D3447C883B3}" type="presParOf" srcId="{E95B80CF-7129-4C57-A97A-F43F98696762}" destId="{3969B0D2-494F-4E48-8D3E-3CA500729999}" srcOrd="0" destOrd="0" presId="urn:microsoft.com/office/officeart/2005/8/layout/hList1"/>
    <dgm:cxn modelId="{9FFDA3FF-6FD0-4282-BC6A-A862C46732A7}" type="presParOf" srcId="{3969B0D2-494F-4E48-8D3E-3CA500729999}" destId="{2CBC4D22-B71A-4330-9271-ABE8302BCA46}" srcOrd="0" destOrd="0" presId="urn:microsoft.com/office/officeart/2005/8/layout/hList1"/>
    <dgm:cxn modelId="{10D06C58-7479-4682-873E-16CB9A1AD18C}" type="presParOf" srcId="{3969B0D2-494F-4E48-8D3E-3CA500729999}" destId="{D32E1AB2-FF4F-492C-A791-033C8D28C91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144CB2D-4110-415B-A804-832C2BBAE02D}" type="doc">
      <dgm:prSet loTypeId="urn:microsoft.com/office/officeart/2005/8/layout/orgChart1" loCatId="hierarchy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de-DE"/>
        </a:p>
      </dgm:t>
    </dgm:pt>
    <dgm:pt modelId="{DC1A715D-FD80-4E77-A7C9-4B94C8E02944}">
      <dgm:prSet/>
      <dgm:spPr/>
      <dgm:t>
        <a:bodyPr/>
        <a:lstStyle/>
        <a:p>
          <a:r>
            <a:rPr lang="de-DE"/>
            <a:t>Warum kein … ?</a:t>
          </a:r>
        </a:p>
      </dgm:t>
    </dgm:pt>
    <dgm:pt modelId="{1440211C-A05D-4296-9A12-86F8DBA4568C}" type="parTrans" cxnId="{546ABCF4-B3A0-4E90-859B-79E21B53080E}">
      <dgm:prSet/>
      <dgm:spPr/>
      <dgm:t>
        <a:bodyPr/>
        <a:lstStyle/>
        <a:p>
          <a:endParaRPr lang="de-DE"/>
        </a:p>
      </dgm:t>
    </dgm:pt>
    <dgm:pt modelId="{B38B17B7-D050-47EE-B4EA-1990AA03FB51}" type="sibTrans" cxnId="{546ABCF4-B3A0-4E90-859B-79E21B53080E}">
      <dgm:prSet/>
      <dgm:spPr/>
      <dgm:t>
        <a:bodyPr/>
        <a:lstStyle/>
        <a:p>
          <a:endParaRPr lang="de-DE"/>
        </a:p>
      </dgm:t>
    </dgm:pt>
    <dgm:pt modelId="{0037B0D2-054E-4E81-83E7-E849ABBC5EAB}">
      <dgm:prSet/>
      <dgm:spPr/>
      <dgm:t>
        <a:bodyPr/>
        <a:lstStyle/>
        <a:p>
          <a:r>
            <a:rPr lang="de-DE"/>
            <a:t>Rekurrentes Neuronales Netz (RNN), insbesondere Long Short-Term Memory (LSTM) für Sequenzverarbeitung</a:t>
          </a:r>
        </a:p>
      </dgm:t>
    </dgm:pt>
    <dgm:pt modelId="{5A5F7FC9-206C-4FB3-9898-D08852821123}" type="parTrans" cxnId="{410EE6FF-8DCF-4D4D-B219-1E5773567F05}">
      <dgm:prSet/>
      <dgm:spPr/>
      <dgm:t>
        <a:bodyPr/>
        <a:lstStyle/>
        <a:p>
          <a:endParaRPr lang="de-DE"/>
        </a:p>
      </dgm:t>
    </dgm:pt>
    <dgm:pt modelId="{DBEF76CC-7D30-4E32-A046-6BD3BF1429D9}" type="sibTrans" cxnId="{410EE6FF-8DCF-4D4D-B219-1E5773567F05}">
      <dgm:prSet/>
      <dgm:spPr/>
      <dgm:t>
        <a:bodyPr/>
        <a:lstStyle/>
        <a:p>
          <a:endParaRPr lang="de-DE"/>
        </a:p>
      </dgm:t>
    </dgm:pt>
    <dgm:pt modelId="{34DB7BF0-C76A-4DDD-8534-17C33755DC60}">
      <dgm:prSet/>
      <dgm:spPr/>
      <dgm:t>
        <a:bodyPr/>
        <a:lstStyle/>
        <a:p>
          <a:r>
            <a:rPr lang="de-DE"/>
            <a:t>Datensatz besteht aus voneinander unabhängigen Beobachtungen ohne Zeitdimension, daher keine Sequenz</a:t>
          </a:r>
        </a:p>
      </dgm:t>
    </dgm:pt>
    <dgm:pt modelId="{5F1E1C01-0495-41B5-9B41-3726300869ED}" type="parTrans" cxnId="{DF2854D7-0D06-4D87-83CD-91D5D589317E}">
      <dgm:prSet/>
      <dgm:spPr/>
      <dgm:t>
        <a:bodyPr/>
        <a:lstStyle/>
        <a:p>
          <a:endParaRPr lang="de-DE"/>
        </a:p>
      </dgm:t>
    </dgm:pt>
    <dgm:pt modelId="{AC03DC9F-01E0-4427-AA8E-8017FBC95145}" type="sibTrans" cxnId="{DF2854D7-0D06-4D87-83CD-91D5D589317E}">
      <dgm:prSet/>
      <dgm:spPr/>
      <dgm:t>
        <a:bodyPr/>
        <a:lstStyle/>
        <a:p>
          <a:endParaRPr lang="de-DE"/>
        </a:p>
      </dgm:t>
    </dgm:pt>
    <dgm:pt modelId="{510524B6-E5CF-47D5-A9D7-0BC83A8C0FFC}">
      <dgm:prSet/>
      <dgm:spPr/>
      <dgm:t>
        <a:bodyPr/>
        <a:lstStyle/>
        <a:p>
          <a:r>
            <a:rPr lang="de-DE"/>
            <a:t>Convolutional Neural Network (CNN)</a:t>
          </a:r>
        </a:p>
      </dgm:t>
    </dgm:pt>
    <dgm:pt modelId="{2B0B7F69-0FA3-417E-A985-81F862E21E49}" type="parTrans" cxnId="{B146F087-229A-479A-AA55-3BD1952712C0}">
      <dgm:prSet/>
      <dgm:spPr/>
      <dgm:t>
        <a:bodyPr/>
        <a:lstStyle/>
        <a:p>
          <a:endParaRPr lang="de-DE"/>
        </a:p>
      </dgm:t>
    </dgm:pt>
    <dgm:pt modelId="{80FEAAB7-5711-4AB0-9333-700F26F9B87C}" type="sibTrans" cxnId="{B146F087-229A-479A-AA55-3BD1952712C0}">
      <dgm:prSet/>
      <dgm:spPr/>
      <dgm:t>
        <a:bodyPr/>
        <a:lstStyle/>
        <a:p>
          <a:endParaRPr lang="de-DE"/>
        </a:p>
      </dgm:t>
    </dgm:pt>
    <dgm:pt modelId="{C01E72D1-8EAA-4F9E-94D3-1A33A1A5890B}">
      <dgm:prSet/>
      <dgm:spPr/>
      <dgm:t>
        <a:bodyPr/>
        <a:lstStyle/>
        <a:p>
          <a:r>
            <a:rPr lang="de-DE"/>
            <a:t>Keine räumliche Verbindung der Input-Daten wie z. B. bei Pixeln eines Bildes</a:t>
          </a:r>
        </a:p>
      </dgm:t>
    </dgm:pt>
    <dgm:pt modelId="{65A74861-D799-4B3D-8EC3-569C72BB0D78}" type="parTrans" cxnId="{022305AD-82D4-4B58-B1D1-703F915D7397}">
      <dgm:prSet/>
      <dgm:spPr/>
      <dgm:t>
        <a:bodyPr/>
        <a:lstStyle/>
        <a:p>
          <a:endParaRPr lang="de-DE"/>
        </a:p>
      </dgm:t>
    </dgm:pt>
    <dgm:pt modelId="{96906146-024E-4B3F-8E92-8280036F6C4F}" type="sibTrans" cxnId="{022305AD-82D4-4B58-B1D1-703F915D7397}">
      <dgm:prSet/>
      <dgm:spPr/>
      <dgm:t>
        <a:bodyPr/>
        <a:lstStyle/>
        <a:p>
          <a:endParaRPr lang="de-DE"/>
        </a:p>
      </dgm:t>
    </dgm:pt>
    <dgm:pt modelId="{19274A33-623F-45DF-8E35-413B36FC1B58}">
      <dgm:prSet/>
      <dgm:spPr/>
      <dgm:t>
        <a:bodyPr/>
        <a:lstStyle/>
        <a:p>
          <a:r>
            <a:rPr lang="de-DE"/>
            <a:t>Attention Mechanism</a:t>
          </a:r>
        </a:p>
      </dgm:t>
    </dgm:pt>
    <dgm:pt modelId="{EC62386F-5E57-4084-8C2B-44523CB94ED3}" type="parTrans" cxnId="{6EDE5BF5-BDD4-4699-A9D5-DB80A22037C4}">
      <dgm:prSet/>
      <dgm:spPr/>
      <dgm:t>
        <a:bodyPr/>
        <a:lstStyle/>
        <a:p>
          <a:endParaRPr lang="de-DE"/>
        </a:p>
      </dgm:t>
    </dgm:pt>
    <dgm:pt modelId="{B419FB03-EF1F-41C1-80B7-479645AB8F41}" type="sibTrans" cxnId="{6EDE5BF5-BDD4-4699-A9D5-DB80A22037C4}">
      <dgm:prSet/>
      <dgm:spPr/>
      <dgm:t>
        <a:bodyPr/>
        <a:lstStyle/>
        <a:p>
          <a:endParaRPr lang="de-DE"/>
        </a:p>
      </dgm:t>
    </dgm:pt>
    <dgm:pt modelId="{8EE0BCD2-097B-418B-810D-4DAD960ECEF9}">
      <dgm:prSet/>
      <dgm:spPr/>
      <dgm:t>
        <a:bodyPr/>
        <a:lstStyle/>
        <a:p>
          <a:r>
            <a:rPr lang="de-DE"/>
            <a:t>Ähnlich wie RNNs, keine Sequenz</a:t>
          </a:r>
        </a:p>
      </dgm:t>
    </dgm:pt>
    <dgm:pt modelId="{89098005-C4E2-4C21-AC88-E5EFFDEE4CB8}" type="parTrans" cxnId="{904C2AC7-A978-40BD-98B1-42ADFB1E825F}">
      <dgm:prSet/>
      <dgm:spPr/>
      <dgm:t>
        <a:bodyPr/>
        <a:lstStyle/>
        <a:p>
          <a:endParaRPr lang="de-DE"/>
        </a:p>
      </dgm:t>
    </dgm:pt>
    <dgm:pt modelId="{2D4CF73E-57D2-4AF9-B012-7ED533E4E8E8}" type="sibTrans" cxnId="{904C2AC7-A978-40BD-98B1-42ADFB1E825F}">
      <dgm:prSet/>
      <dgm:spPr/>
      <dgm:t>
        <a:bodyPr/>
        <a:lstStyle/>
        <a:p>
          <a:endParaRPr lang="de-DE"/>
        </a:p>
      </dgm:t>
    </dgm:pt>
    <dgm:pt modelId="{A1B9DD18-E161-47A6-94B1-376588662FEE}" type="pres">
      <dgm:prSet presAssocID="{0144CB2D-4110-415B-A804-832C2BBAE02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B0D68BEB-6434-49CE-A42A-B87FB8F667B5}" type="pres">
      <dgm:prSet presAssocID="{DC1A715D-FD80-4E77-A7C9-4B94C8E02944}" presName="hierRoot1" presStyleCnt="0">
        <dgm:presLayoutVars>
          <dgm:hierBranch val="init"/>
        </dgm:presLayoutVars>
      </dgm:prSet>
      <dgm:spPr/>
    </dgm:pt>
    <dgm:pt modelId="{86BCAE0B-82CB-48EA-8C72-9592C41E7A12}" type="pres">
      <dgm:prSet presAssocID="{DC1A715D-FD80-4E77-A7C9-4B94C8E02944}" presName="rootComposite1" presStyleCnt="0"/>
      <dgm:spPr/>
    </dgm:pt>
    <dgm:pt modelId="{E0498AA2-D1C1-4A28-A351-3B5187420F06}" type="pres">
      <dgm:prSet presAssocID="{DC1A715D-FD80-4E77-A7C9-4B94C8E02944}" presName="rootText1" presStyleLbl="node0" presStyleIdx="0" presStyleCnt="1">
        <dgm:presLayoutVars>
          <dgm:chPref val="3"/>
        </dgm:presLayoutVars>
      </dgm:prSet>
      <dgm:spPr/>
    </dgm:pt>
    <dgm:pt modelId="{25D982E6-E947-4959-8C75-1B36257A0023}" type="pres">
      <dgm:prSet presAssocID="{DC1A715D-FD80-4E77-A7C9-4B94C8E02944}" presName="rootConnector1" presStyleLbl="node1" presStyleIdx="0" presStyleCnt="0"/>
      <dgm:spPr/>
    </dgm:pt>
    <dgm:pt modelId="{8B5790A0-1C36-4903-B508-7C2EC61A34DC}" type="pres">
      <dgm:prSet presAssocID="{DC1A715D-FD80-4E77-A7C9-4B94C8E02944}" presName="hierChild2" presStyleCnt="0"/>
      <dgm:spPr/>
    </dgm:pt>
    <dgm:pt modelId="{0CFF08D2-9D92-4A74-8B38-DE697C0559F4}" type="pres">
      <dgm:prSet presAssocID="{5A5F7FC9-206C-4FB3-9898-D08852821123}" presName="Name37" presStyleLbl="parChTrans1D2" presStyleIdx="0" presStyleCnt="3"/>
      <dgm:spPr/>
    </dgm:pt>
    <dgm:pt modelId="{43CF9CD4-CFC9-4003-A94A-5A11D2281E58}" type="pres">
      <dgm:prSet presAssocID="{0037B0D2-054E-4E81-83E7-E849ABBC5EAB}" presName="hierRoot2" presStyleCnt="0">
        <dgm:presLayoutVars>
          <dgm:hierBranch val="init"/>
        </dgm:presLayoutVars>
      </dgm:prSet>
      <dgm:spPr/>
    </dgm:pt>
    <dgm:pt modelId="{619F09F7-EE1E-4ECB-BAB6-B540B82D254F}" type="pres">
      <dgm:prSet presAssocID="{0037B0D2-054E-4E81-83E7-E849ABBC5EAB}" presName="rootComposite" presStyleCnt="0"/>
      <dgm:spPr/>
    </dgm:pt>
    <dgm:pt modelId="{53C29529-FA9E-4894-BD2A-D889E5A1A56F}" type="pres">
      <dgm:prSet presAssocID="{0037B0D2-054E-4E81-83E7-E849ABBC5EAB}" presName="rootText" presStyleLbl="node2" presStyleIdx="0" presStyleCnt="3">
        <dgm:presLayoutVars>
          <dgm:chPref val="3"/>
        </dgm:presLayoutVars>
      </dgm:prSet>
      <dgm:spPr/>
    </dgm:pt>
    <dgm:pt modelId="{7540E102-5A33-486F-B652-154C355A0CDE}" type="pres">
      <dgm:prSet presAssocID="{0037B0D2-054E-4E81-83E7-E849ABBC5EAB}" presName="rootConnector" presStyleLbl="node2" presStyleIdx="0" presStyleCnt="3"/>
      <dgm:spPr/>
    </dgm:pt>
    <dgm:pt modelId="{4A079578-9E12-43AF-8950-8917FCFA0940}" type="pres">
      <dgm:prSet presAssocID="{0037B0D2-054E-4E81-83E7-E849ABBC5EAB}" presName="hierChild4" presStyleCnt="0"/>
      <dgm:spPr/>
    </dgm:pt>
    <dgm:pt modelId="{853412D4-70C1-44DC-8CAA-7F6A3456EAAB}" type="pres">
      <dgm:prSet presAssocID="{5F1E1C01-0495-41B5-9B41-3726300869ED}" presName="Name37" presStyleLbl="parChTrans1D3" presStyleIdx="0" presStyleCnt="3"/>
      <dgm:spPr/>
    </dgm:pt>
    <dgm:pt modelId="{8A88D62F-F05E-4594-9CFC-3A938BE42A7C}" type="pres">
      <dgm:prSet presAssocID="{34DB7BF0-C76A-4DDD-8534-17C33755DC60}" presName="hierRoot2" presStyleCnt="0">
        <dgm:presLayoutVars>
          <dgm:hierBranch val="init"/>
        </dgm:presLayoutVars>
      </dgm:prSet>
      <dgm:spPr/>
    </dgm:pt>
    <dgm:pt modelId="{31DD0D42-C122-4AF1-94EE-D940C22E56DD}" type="pres">
      <dgm:prSet presAssocID="{34DB7BF0-C76A-4DDD-8534-17C33755DC60}" presName="rootComposite" presStyleCnt="0"/>
      <dgm:spPr/>
    </dgm:pt>
    <dgm:pt modelId="{CBEAD8BD-6232-45FF-A320-9625113035E0}" type="pres">
      <dgm:prSet presAssocID="{34DB7BF0-C76A-4DDD-8534-17C33755DC60}" presName="rootText" presStyleLbl="node3" presStyleIdx="0" presStyleCnt="3">
        <dgm:presLayoutVars>
          <dgm:chPref val="3"/>
        </dgm:presLayoutVars>
      </dgm:prSet>
      <dgm:spPr/>
    </dgm:pt>
    <dgm:pt modelId="{D3CF2CFC-DD7F-4F03-9DDE-10EB89CF482E}" type="pres">
      <dgm:prSet presAssocID="{34DB7BF0-C76A-4DDD-8534-17C33755DC60}" presName="rootConnector" presStyleLbl="node3" presStyleIdx="0" presStyleCnt="3"/>
      <dgm:spPr/>
    </dgm:pt>
    <dgm:pt modelId="{703FBACE-62DE-4EA0-8520-492E7B3A9397}" type="pres">
      <dgm:prSet presAssocID="{34DB7BF0-C76A-4DDD-8534-17C33755DC60}" presName="hierChild4" presStyleCnt="0"/>
      <dgm:spPr/>
    </dgm:pt>
    <dgm:pt modelId="{710B4C86-F86D-4322-9684-FEE7B80A44C3}" type="pres">
      <dgm:prSet presAssocID="{34DB7BF0-C76A-4DDD-8534-17C33755DC60}" presName="hierChild5" presStyleCnt="0"/>
      <dgm:spPr/>
    </dgm:pt>
    <dgm:pt modelId="{B62563C7-811E-4389-9512-E12BE4C8D862}" type="pres">
      <dgm:prSet presAssocID="{0037B0D2-054E-4E81-83E7-E849ABBC5EAB}" presName="hierChild5" presStyleCnt="0"/>
      <dgm:spPr/>
    </dgm:pt>
    <dgm:pt modelId="{B598C8A1-5282-460C-921D-57DC0098AACE}" type="pres">
      <dgm:prSet presAssocID="{2B0B7F69-0FA3-417E-A985-81F862E21E49}" presName="Name37" presStyleLbl="parChTrans1D2" presStyleIdx="1" presStyleCnt="3"/>
      <dgm:spPr/>
    </dgm:pt>
    <dgm:pt modelId="{89E67C70-9D48-48A5-817C-C5DA501382C5}" type="pres">
      <dgm:prSet presAssocID="{510524B6-E5CF-47D5-A9D7-0BC83A8C0FFC}" presName="hierRoot2" presStyleCnt="0">
        <dgm:presLayoutVars>
          <dgm:hierBranch val="init"/>
        </dgm:presLayoutVars>
      </dgm:prSet>
      <dgm:spPr/>
    </dgm:pt>
    <dgm:pt modelId="{50D890AB-4E15-4F77-B189-41E68E61E038}" type="pres">
      <dgm:prSet presAssocID="{510524B6-E5CF-47D5-A9D7-0BC83A8C0FFC}" presName="rootComposite" presStyleCnt="0"/>
      <dgm:spPr/>
    </dgm:pt>
    <dgm:pt modelId="{958A74AB-441F-4A67-9B01-17F01BD443FE}" type="pres">
      <dgm:prSet presAssocID="{510524B6-E5CF-47D5-A9D7-0BC83A8C0FFC}" presName="rootText" presStyleLbl="node2" presStyleIdx="1" presStyleCnt="3">
        <dgm:presLayoutVars>
          <dgm:chPref val="3"/>
        </dgm:presLayoutVars>
      </dgm:prSet>
      <dgm:spPr/>
    </dgm:pt>
    <dgm:pt modelId="{1F61194A-2846-4862-A4AB-A27E28709D68}" type="pres">
      <dgm:prSet presAssocID="{510524B6-E5CF-47D5-A9D7-0BC83A8C0FFC}" presName="rootConnector" presStyleLbl="node2" presStyleIdx="1" presStyleCnt="3"/>
      <dgm:spPr/>
    </dgm:pt>
    <dgm:pt modelId="{41943B93-F852-4A44-856C-3DB162D69467}" type="pres">
      <dgm:prSet presAssocID="{510524B6-E5CF-47D5-A9D7-0BC83A8C0FFC}" presName="hierChild4" presStyleCnt="0"/>
      <dgm:spPr/>
    </dgm:pt>
    <dgm:pt modelId="{F462C0E1-FBF7-432D-9B2D-7C41AB62C944}" type="pres">
      <dgm:prSet presAssocID="{65A74861-D799-4B3D-8EC3-569C72BB0D78}" presName="Name37" presStyleLbl="parChTrans1D3" presStyleIdx="1" presStyleCnt="3"/>
      <dgm:spPr/>
    </dgm:pt>
    <dgm:pt modelId="{E8B65103-66E8-4F64-A343-16CE00BEBBE8}" type="pres">
      <dgm:prSet presAssocID="{C01E72D1-8EAA-4F9E-94D3-1A33A1A5890B}" presName="hierRoot2" presStyleCnt="0">
        <dgm:presLayoutVars>
          <dgm:hierBranch val="init"/>
        </dgm:presLayoutVars>
      </dgm:prSet>
      <dgm:spPr/>
    </dgm:pt>
    <dgm:pt modelId="{7F0917F3-8236-4640-9A75-93B1E1A63E7A}" type="pres">
      <dgm:prSet presAssocID="{C01E72D1-8EAA-4F9E-94D3-1A33A1A5890B}" presName="rootComposite" presStyleCnt="0"/>
      <dgm:spPr/>
    </dgm:pt>
    <dgm:pt modelId="{9BB275DA-E721-47DD-99EC-6B92C92B76E4}" type="pres">
      <dgm:prSet presAssocID="{C01E72D1-8EAA-4F9E-94D3-1A33A1A5890B}" presName="rootText" presStyleLbl="node3" presStyleIdx="1" presStyleCnt="3">
        <dgm:presLayoutVars>
          <dgm:chPref val="3"/>
        </dgm:presLayoutVars>
      </dgm:prSet>
      <dgm:spPr/>
    </dgm:pt>
    <dgm:pt modelId="{0E6B3779-0C66-4E3B-9838-813D9B027014}" type="pres">
      <dgm:prSet presAssocID="{C01E72D1-8EAA-4F9E-94D3-1A33A1A5890B}" presName="rootConnector" presStyleLbl="node3" presStyleIdx="1" presStyleCnt="3"/>
      <dgm:spPr/>
    </dgm:pt>
    <dgm:pt modelId="{07B87B1D-D6B9-4E61-8B19-A86AC5CF1A1C}" type="pres">
      <dgm:prSet presAssocID="{C01E72D1-8EAA-4F9E-94D3-1A33A1A5890B}" presName="hierChild4" presStyleCnt="0"/>
      <dgm:spPr/>
    </dgm:pt>
    <dgm:pt modelId="{6C1A8AC9-8E50-4FD0-9D68-2D86C2259E25}" type="pres">
      <dgm:prSet presAssocID="{C01E72D1-8EAA-4F9E-94D3-1A33A1A5890B}" presName="hierChild5" presStyleCnt="0"/>
      <dgm:spPr/>
    </dgm:pt>
    <dgm:pt modelId="{5B464CBC-8A3C-4E26-8BC7-D55BAE1FFBC7}" type="pres">
      <dgm:prSet presAssocID="{510524B6-E5CF-47D5-A9D7-0BC83A8C0FFC}" presName="hierChild5" presStyleCnt="0"/>
      <dgm:spPr/>
    </dgm:pt>
    <dgm:pt modelId="{D4194DF9-5481-4F19-A6C8-C32DC60A8FDE}" type="pres">
      <dgm:prSet presAssocID="{EC62386F-5E57-4084-8C2B-44523CB94ED3}" presName="Name37" presStyleLbl="parChTrans1D2" presStyleIdx="2" presStyleCnt="3"/>
      <dgm:spPr/>
    </dgm:pt>
    <dgm:pt modelId="{703372F7-EE50-44C9-B0C5-8BA19203009D}" type="pres">
      <dgm:prSet presAssocID="{19274A33-623F-45DF-8E35-413B36FC1B58}" presName="hierRoot2" presStyleCnt="0">
        <dgm:presLayoutVars>
          <dgm:hierBranch val="init"/>
        </dgm:presLayoutVars>
      </dgm:prSet>
      <dgm:spPr/>
    </dgm:pt>
    <dgm:pt modelId="{286E4DEA-8DA4-47E6-B3B0-1B6F81450B33}" type="pres">
      <dgm:prSet presAssocID="{19274A33-623F-45DF-8E35-413B36FC1B58}" presName="rootComposite" presStyleCnt="0"/>
      <dgm:spPr/>
    </dgm:pt>
    <dgm:pt modelId="{AEF642B5-7B6F-42EE-AB44-30CBB52497B3}" type="pres">
      <dgm:prSet presAssocID="{19274A33-623F-45DF-8E35-413B36FC1B58}" presName="rootText" presStyleLbl="node2" presStyleIdx="2" presStyleCnt="3">
        <dgm:presLayoutVars>
          <dgm:chPref val="3"/>
        </dgm:presLayoutVars>
      </dgm:prSet>
      <dgm:spPr/>
    </dgm:pt>
    <dgm:pt modelId="{70EBD570-3985-45AA-AC6C-392086EA61F0}" type="pres">
      <dgm:prSet presAssocID="{19274A33-623F-45DF-8E35-413B36FC1B58}" presName="rootConnector" presStyleLbl="node2" presStyleIdx="2" presStyleCnt="3"/>
      <dgm:spPr/>
    </dgm:pt>
    <dgm:pt modelId="{A569AE46-F0B3-42A9-BE92-0192B0295B62}" type="pres">
      <dgm:prSet presAssocID="{19274A33-623F-45DF-8E35-413B36FC1B58}" presName="hierChild4" presStyleCnt="0"/>
      <dgm:spPr/>
    </dgm:pt>
    <dgm:pt modelId="{5E4FB5ED-8F35-4D7B-834B-DB836D30DE80}" type="pres">
      <dgm:prSet presAssocID="{89098005-C4E2-4C21-AC88-E5EFFDEE4CB8}" presName="Name37" presStyleLbl="parChTrans1D3" presStyleIdx="2" presStyleCnt="3"/>
      <dgm:spPr/>
    </dgm:pt>
    <dgm:pt modelId="{C0721F45-054F-4C42-ACFE-FE340307E76B}" type="pres">
      <dgm:prSet presAssocID="{8EE0BCD2-097B-418B-810D-4DAD960ECEF9}" presName="hierRoot2" presStyleCnt="0">
        <dgm:presLayoutVars>
          <dgm:hierBranch val="init"/>
        </dgm:presLayoutVars>
      </dgm:prSet>
      <dgm:spPr/>
    </dgm:pt>
    <dgm:pt modelId="{7C2B1C2D-E208-45F0-B398-D546BD1D0A80}" type="pres">
      <dgm:prSet presAssocID="{8EE0BCD2-097B-418B-810D-4DAD960ECEF9}" presName="rootComposite" presStyleCnt="0"/>
      <dgm:spPr/>
    </dgm:pt>
    <dgm:pt modelId="{D65D1D60-FC15-490F-9D25-099794831BEB}" type="pres">
      <dgm:prSet presAssocID="{8EE0BCD2-097B-418B-810D-4DAD960ECEF9}" presName="rootText" presStyleLbl="node3" presStyleIdx="2" presStyleCnt="3">
        <dgm:presLayoutVars>
          <dgm:chPref val="3"/>
        </dgm:presLayoutVars>
      </dgm:prSet>
      <dgm:spPr/>
    </dgm:pt>
    <dgm:pt modelId="{D258BA18-4005-4D88-A6CB-C8A5E4D34E15}" type="pres">
      <dgm:prSet presAssocID="{8EE0BCD2-097B-418B-810D-4DAD960ECEF9}" presName="rootConnector" presStyleLbl="node3" presStyleIdx="2" presStyleCnt="3"/>
      <dgm:spPr/>
    </dgm:pt>
    <dgm:pt modelId="{B0716DCE-5C01-433A-9B9B-F0BABF2A663A}" type="pres">
      <dgm:prSet presAssocID="{8EE0BCD2-097B-418B-810D-4DAD960ECEF9}" presName="hierChild4" presStyleCnt="0"/>
      <dgm:spPr/>
    </dgm:pt>
    <dgm:pt modelId="{6FD5B1C5-5EA0-4267-9C9A-0EE571937105}" type="pres">
      <dgm:prSet presAssocID="{8EE0BCD2-097B-418B-810D-4DAD960ECEF9}" presName="hierChild5" presStyleCnt="0"/>
      <dgm:spPr/>
    </dgm:pt>
    <dgm:pt modelId="{7ABC28BD-4AC5-492E-9AEA-DFB3719AEFDD}" type="pres">
      <dgm:prSet presAssocID="{19274A33-623F-45DF-8E35-413B36FC1B58}" presName="hierChild5" presStyleCnt="0"/>
      <dgm:spPr/>
    </dgm:pt>
    <dgm:pt modelId="{44783545-01BB-4CE9-961F-865A003BD77A}" type="pres">
      <dgm:prSet presAssocID="{DC1A715D-FD80-4E77-A7C9-4B94C8E02944}" presName="hierChild3" presStyleCnt="0"/>
      <dgm:spPr/>
    </dgm:pt>
  </dgm:ptLst>
  <dgm:cxnLst>
    <dgm:cxn modelId="{2B15980B-FBF8-4D9B-A2A9-6E870405EE03}" type="presOf" srcId="{8EE0BCD2-097B-418B-810D-4DAD960ECEF9}" destId="{D258BA18-4005-4D88-A6CB-C8A5E4D34E15}" srcOrd="1" destOrd="0" presId="urn:microsoft.com/office/officeart/2005/8/layout/orgChart1"/>
    <dgm:cxn modelId="{70B8D90F-AD86-4789-82D6-5A02439DCC01}" type="presOf" srcId="{65A74861-D799-4B3D-8EC3-569C72BB0D78}" destId="{F462C0E1-FBF7-432D-9B2D-7C41AB62C944}" srcOrd="0" destOrd="0" presId="urn:microsoft.com/office/officeart/2005/8/layout/orgChart1"/>
    <dgm:cxn modelId="{337F331C-5B3B-4A22-8093-670F2BEA9F7E}" type="presOf" srcId="{8EE0BCD2-097B-418B-810D-4DAD960ECEF9}" destId="{D65D1D60-FC15-490F-9D25-099794831BEB}" srcOrd="0" destOrd="0" presId="urn:microsoft.com/office/officeart/2005/8/layout/orgChart1"/>
    <dgm:cxn modelId="{3705AD1C-5848-4ABC-9C93-ACA8E0FFCFA4}" type="presOf" srcId="{5F1E1C01-0495-41B5-9B41-3726300869ED}" destId="{853412D4-70C1-44DC-8CAA-7F6A3456EAAB}" srcOrd="0" destOrd="0" presId="urn:microsoft.com/office/officeart/2005/8/layout/orgChart1"/>
    <dgm:cxn modelId="{D6D8D72B-456A-4BBE-93DE-408B866A954F}" type="presOf" srcId="{19274A33-623F-45DF-8E35-413B36FC1B58}" destId="{70EBD570-3985-45AA-AC6C-392086EA61F0}" srcOrd="1" destOrd="0" presId="urn:microsoft.com/office/officeart/2005/8/layout/orgChart1"/>
    <dgm:cxn modelId="{5A802660-782E-40F3-B5DE-60A5334250FB}" type="presOf" srcId="{510524B6-E5CF-47D5-A9D7-0BC83A8C0FFC}" destId="{958A74AB-441F-4A67-9B01-17F01BD443FE}" srcOrd="0" destOrd="0" presId="urn:microsoft.com/office/officeart/2005/8/layout/orgChart1"/>
    <dgm:cxn modelId="{95A61341-6D86-4885-82E0-E176624A2A73}" type="presOf" srcId="{19274A33-623F-45DF-8E35-413B36FC1B58}" destId="{AEF642B5-7B6F-42EE-AB44-30CBB52497B3}" srcOrd="0" destOrd="0" presId="urn:microsoft.com/office/officeart/2005/8/layout/orgChart1"/>
    <dgm:cxn modelId="{CACA9061-8992-4DFE-96D8-AE29ADB1FB3C}" type="presOf" srcId="{5A5F7FC9-206C-4FB3-9898-D08852821123}" destId="{0CFF08D2-9D92-4A74-8B38-DE697C0559F4}" srcOrd="0" destOrd="0" presId="urn:microsoft.com/office/officeart/2005/8/layout/orgChart1"/>
    <dgm:cxn modelId="{726DE370-E16E-498E-811E-A0F9AF28E2A4}" type="presOf" srcId="{C01E72D1-8EAA-4F9E-94D3-1A33A1A5890B}" destId="{9BB275DA-E721-47DD-99EC-6B92C92B76E4}" srcOrd="0" destOrd="0" presId="urn:microsoft.com/office/officeart/2005/8/layout/orgChart1"/>
    <dgm:cxn modelId="{7D924C51-2742-465C-8112-7DA271AA4E24}" type="presOf" srcId="{EC62386F-5E57-4084-8C2B-44523CB94ED3}" destId="{D4194DF9-5481-4F19-A6C8-C32DC60A8FDE}" srcOrd="0" destOrd="0" presId="urn:microsoft.com/office/officeart/2005/8/layout/orgChart1"/>
    <dgm:cxn modelId="{1FF28672-328D-4CA6-854E-BBDE5006022B}" type="presOf" srcId="{C01E72D1-8EAA-4F9E-94D3-1A33A1A5890B}" destId="{0E6B3779-0C66-4E3B-9838-813D9B027014}" srcOrd="1" destOrd="0" presId="urn:microsoft.com/office/officeart/2005/8/layout/orgChart1"/>
    <dgm:cxn modelId="{E80C9552-4898-45EC-B156-6A057C3F0780}" type="presOf" srcId="{510524B6-E5CF-47D5-A9D7-0BC83A8C0FFC}" destId="{1F61194A-2846-4862-A4AB-A27E28709D68}" srcOrd="1" destOrd="0" presId="urn:microsoft.com/office/officeart/2005/8/layout/orgChart1"/>
    <dgm:cxn modelId="{B146F087-229A-479A-AA55-3BD1952712C0}" srcId="{DC1A715D-FD80-4E77-A7C9-4B94C8E02944}" destId="{510524B6-E5CF-47D5-A9D7-0BC83A8C0FFC}" srcOrd="1" destOrd="0" parTransId="{2B0B7F69-0FA3-417E-A985-81F862E21E49}" sibTransId="{80FEAAB7-5711-4AB0-9333-700F26F9B87C}"/>
    <dgm:cxn modelId="{2C64938D-C405-422F-9870-1B435F4ECB52}" type="presOf" srcId="{2B0B7F69-0FA3-417E-A985-81F862E21E49}" destId="{B598C8A1-5282-460C-921D-57DC0098AACE}" srcOrd="0" destOrd="0" presId="urn:microsoft.com/office/officeart/2005/8/layout/orgChart1"/>
    <dgm:cxn modelId="{B90DE98D-8F62-4A9E-9EF8-CF46D7F24918}" type="presOf" srcId="{0037B0D2-054E-4E81-83E7-E849ABBC5EAB}" destId="{7540E102-5A33-486F-B652-154C355A0CDE}" srcOrd="1" destOrd="0" presId="urn:microsoft.com/office/officeart/2005/8/layout/orgChart1"/>
    <dgm:cxn modelId="{93B0A195-9AE1-4952-AA73-7C3E99F0A232}" type="presOf" srcId="{34DB7BF0-C76A-4DDD-8534-17C33755DC60}" destId="{CBEAD8BD-6232-45FF-A320-9625113035E0}" srcOrd="0" destOrd="0" presId="urn:microsoft.com/office/officeart/2005/8/layout/orgChart1"/>
    <dgm:cxn modelId="{B662F59A-1ACE-4725-8FCD-F29B2FB41A64}" type="presOf" srcId="{0037B0D2-054E-4E81-83E7-E849ABBC5EAB}" destId="{53C29529-FA9E-4894-BD2A-D889E5A1A56F}" srcOrd="0" destOrd="0" presId="urn:microsoft.com/office/officeart/2005/8/layout/orgChart1"/>
    <dgm:cxn modelId="{022305AD-82D4-4B58-B1D1-703F915D7397}" srcId="{510524B6-E5CF-47D5-A9D7-0BC83A8C0FFC}" destId="{C01E72D1-8EAA-4F9E-94D3-1A33A1A5890B}" srcOrd="0" destOrd="0" parTransId="{65A74861-D799-4B3D-8EC3-569C72BB0D78}" sibTransId="{96906146-024E-4B3F-8E92-8280036F6C4F}"/>
    <dgm:cxn modelId="{70821DBB-A101-465B-8E55-5D7CD13C7818}" type="presOf" srcId="{DC1A715D-FD80-4E77-A7C9-4B94C8E02944}" destId="{25D982E6-E947-4959-8C75-1B36257A0023}" srcOrd="1" destOrd="0" presId="urn:microsoft.com/office/officeart/2005/8/layout/orgChart1"/>
    <dgm:cxn modelId="{5521BCC0-A7CD-4384-A7D0-E54C293AF02F}" type="presOf" srcId="{89098005-C4E2-4C21-AC88-E5EFFDEE4CB8}" destId="{5E4FB5ED-8F35-4D7B-834B-DB836D30DE80}" srcOrd="0" destOrd="0" presId="urn:microsoft.com/office/officeart/2005/8/layout/orgChart1"/>
    <dgm:cxn modelId="{904C2AC7-A978-40BD-98B1-42ADFB1E825F}" srcId="{19274A33-623F-45DF-8E35-413B36FC1B58}" destId="{8EE0BCD2-097B-418B-810D-4DAD960ECEF9}" srcOrd="0" destOrd="0" parTransId="{89098005-C4E2-4C21-AC88-E5EFFDEE4CB8}" sibTransId="{2D4CF73E-57D2-4AF9-B012-7ED533E4E8E8}"/>
    <dgm:cxn modelId="{65A3B7CD-81F4-455E-BA48-B0A7560AF86D}" type="presOf" srcId="{0144CB2D-4110-415B-A804-832C2BBAE02D}" destId="{A1B9DD18-E161-47A6-94B1-376588662FEE}" srcOrd="0" destOrd="0" presId="urn:microsoft.com/office/officeart/2005/8/layout/orgChart1"/>
    <dgm:cxn modelId="{0FA8E7CF-B180-4ED7-914F-4944E99820BF}" type="presOf" srcId="{DC1A715D-FD80-4E77-A7C9-4B94C8E02944}" destId="{E0498AA2-D1C1-4A28-A351-3B5187420F06}" srcOrd="0" destOrd="0" presId="urn:microsoft.com/office/officeart/2005/8/layout/orgChart1"/>
    <dgm:cxn modelId="{DF2854D7-0D06-4D87-83CD-91D5D589317E}" srcId="{0037B0D2-054E-4E81-83E7-E849ABBC5EAB}" destId="{34DB7BF0-C76A-4DDD-8534-17C33755DC60}" srcOrd="0" destOrd="0" parTransId="{5F1E1C01-0495-41B5-9B41-3726300869ED}" sibTransId="{AC03DC9F-01E0-4427-AA8E-8017FBC95145}"/>
    <dgm:cxn modelId="{546ABCF4-B3A0-4E90-859B-79E21B53080E}" srcId="{0144CB2D-4110-415B-A804-832C2BBAE02D}" destId="{DC1A715D-FD80-4E77-A7C9-4B94C8E02944}" srcOrd="0" destOrd="0" parTransId="{1440211C-A05D-4296-9A12-86F8DBA4568C}" sibTransId="{B38B17B7-D050-47EE-B4EA-1990AA03FB51}"/>
    <dgm:cxn modelId="{6EDE5BF5-BDD4-4699-A9D5-DB80A22037C4}" srcId="{DC1A715D-FD80-4E77-A7C9-4B94C8E02944}" destId="{19274A33-623F-45DF-8E35-413B36FC1B58}" srcOrd="2" destOrd="0" parTransId="{EC62386F-5E57-4084-8C2B-44523CB94ED3}" sibTransId="{B419FB03-EF1F-41C1-80B7-479645AB8F41}"/>
    <dgm:cxn modelId="{33918BF6-5CF7-4106-93FB-F79F7D93E3E6}" type="presOf" srcId="{34DB7BF0-C76A-4DDD-8534-17C33755DC60}" destId="{D3CF2CFC-DD7F-4F03-9DDE-10EB89CF482E}" srcOrd="1" destOrd="0" presId="urn:microsoft.com/office/officeart/2005/8/layout/orgChart1"/>
    <dgm:cxn modelId="{410EE6FF-8DCF-4D4D-B219-1E5773567F05}" srcId="{DC1A715D-FD80-4E77-A7C9-4B94C8E02944}" destId="{0037B0D2-054E-4E81-83E7-E849ABBC5EAB}" srcOrd="0" destOrd="0" parTransId="{5A5F7FC9-206C-4FB3-9898-D08852821123}" sibTransId="{DBEF76CC-7D30-4E32-A046-6BD3BF1429D9}"/>
    <dgm:cxn modelId="{4F10CBB1-E363-4203-8561-92B68224D5E5}" type="presParOf" srcId="{A1B9DD18-E161-47A6-94B1-376588662FEE}" destId="{B0D68BEB-6434-49CE-A42A-B87FB8F667B5}" srcOrd="0" destOrd="0" presId="urn:microsoft.com/office/officeart/2005/8/layout/orgChart1"/>
    <dgm:cxn modelId="{FE87E83D-9BBA-45A2-8CB0-F7D695A54508}" type="presParOf" srcId="{B0D68BEB-6434-49CE-A42A-B87FB8F667B5}" destId="{86BCAE0B-82CB-48EA-8C72-9592C41E7A12}" srcOrd="0" destOrd="0" presId="urn:microsoft.com/office/officeart/2005/8/layout/orgChart1"/>
    <dgm:cxn modelId="{3CD03A2B-57F0-46C8-9A1F-462157DA8F2E}" type="presParOf" srcId="{86BCAE0B-82CB-48EA-8C72-9592C41E7A12}" destId="{E0498AA2-D1C1-4A28-A351-3B5187420F06}" srcOrd="0" destOrd="0" presId="urn:microsoft.com/office/officeart/2005/8/layout/orgChart1"/>
    <dgm:cxn modelId="{79CB0163-22D8-4C3A-BEBB-693E43D124BD}" type="presParOf" srcId="{86BCAE0B-82CB-48EA-8C72-9592C41E7A12}" destId="{25D982E6-E947-4959-8C75-1B36257A0023}" srcOrd="1" destOrd="0" presId="urn:microsoft.com/office/officeart/2005/8/layout/orgChart1"/>
    <dgm:cxn modelId="{CD923AF5-01F1-40B5-924F-51B78F456B99}" type="presParOf" srcId="{B0D68BEB-6434-49CE-A42A-B87FB8F667B5}" destId="{8B5790A0-1C36-4903-B508-7C2EC61A34DC}" srcOrd="1" destOrd="0" presId="urn:microsoft.com/office/officeart/2005/8/layout/orgChart1"/>
    <dgm:cxn modelId="{899698C9-8687-47D3-B1DD-14959B32A408}" type="presParOf" srcId="{8B5790A0-1C36-4903-B508-7C2EC61A34DC}" destId="{0CFF08D2-9D92-4A74-8B38-DE697C0559F4}" srcOrd="0" destOrd="0" presId="urn:microsoft.com/office/officeart/2005/8/layout/orgChart1"/>
    <dgm:cxn modelId="{4F46E347-D2A5-4499-B4C1-93DE23FA0038}" type="presParOf" srcId="{8B5790A0-1C36-4903-B508-7C2EC61A34DC}" destId="{43CF9CD4-CFC9-4003-A94A-5A11D2281E58}" srcOrd="1" destOrd="0" presId="urn:microsoft.com/office/officeart/2005/8/layout/orgChart1"/>
    <dgm:cxn modelId="{512A0881-457B-4E5E-BD5F-315B4A328DF5}" type="presParOf" srcId="{43CF9CD4-CFC9-4003-A94A-5A11D2281E58}" destId="{619F09F7-EE1E-4ECB-BAB6-B540B82D254F}" srcOrd="0" destOrd="0" presId="urn:microsoft.com/office/officeart/2005/8/layout/orgChart1"/>
    <dgm:cxn modelId="{8EFDB153-DD91-4C30-A2DB-6C10A321E246}" type="presParOf" srcId="{619F09F7-EE1E-4ECB-BAB6-B540B82D254F}" destId="{53C29529-FA9E-4894-BD2A-D889E5A1A56F}" srcOrd="0" destOrd="0" presId="urn:microsoft.com/office/officeart/2005/8/layout/orgChart1"/>
    <dgm:cxn modelId="{63B22ECE-408A-4ABB-BFDF-F46896292EB0}" type="presParOf" srcId="{619F09F7-EE1E-4ECB-BAB6-B540B82D254F}" destId="{7540E102-5A33-486F-B652-154C355A0CDE}" srcOrd="1" destOrd="0" presId="urn:microsoft.com/office/officeart/2005/8/layout/orgChart1"/>
    <dgm:cxn modelId="{62CA454A-87E0-45AC-8F17-FDD0E66B92E2}" type="presParOf" srcId="{43CF9CD4-CFC9-4003-A94A-5A11D2281E58}" destId="{4A079578-9E12-43AF-8950-8917FCFA0940}" srcOrd="1" destOrd="0" presId="urn:microsoft.com/office/officeart/2005/8/layout/orgChart1"/>
    <dgm:cxn modelId="{61118FD7-33D6-4123-95F8-D97A6EEE49FF}" type="presParOf" srcId="{4A079578-9E12-43AF-8950-8917FCFA0940}" destId="{853412D4-70C1-44DC-8CAA-7F6A3456EAAB}" srcOrd="0" destOrd="0" presId="urn:microsoft.com/office/officeart/2005/8/layout/orgChart1"/>
    <dgm:cxn modelId="{3A22A536-58B4-4D20-842D-24A43B4F5B3B}" type="presParOf" srcId="{4A079578-9E12-43AF-8950-8917FCFA0940}" destId="{8A88D62F-F05E-4594-9CFC-3A938BE42A7C}" srcOrd="1" destOrd="0" presId="urn:microsoft.com/office/officeart/2005/8/layout/orgChart1"/>
    <dgm:cxn modelId="{9B44BF29-497C-4E6D-84C1-78262A62F9B7}" type="presParOf" srcId="{8A88D62F-F05E-4594-9CFC-3A938BE42A7C}" destId="{31DD0D42-C122-4AF1-94EE-D940C22E56DD}" srcOrd="0" destOrd="0" presId="urn:microsoft.com/office/officeart/2005/8/layout/orgChart1"/>
    <dgm:cxn modelId="{913EB913-ED9E-4C21-B73E-03D10349C43B}" type="presParOf" srcId="{31DD0D42-C122-4AF1-94EE-D940C22E56DD}" destId="{CBEAD8BD-6232-45FF-A320-9625113035E0}" srcOrd="0" destOrd="0" presId="urn:microsoft.com/office/officeart/2005/8/layout/orgChart1"/>
    <dgm:cxn modelId="{1A3428BC-2A67-4F15-B4D6-B4F5BFDA2BB7}" type="presParOf" srcId="{31DD0D42-C122-4AF1-94EE-D940C22E56DD}" destId="{D3CF2CFC-DD7F-4F03-9DDE-10EB89CF482E}" srcOrd="1" destOrd="0" presId="urn:microsoft.com/office/officeart/2005/8/layout/orgChart1"/>
    <dgm:cxn modelId="{6D23F427-6CEA-417A-8A0A-E8F7BCA34BEF}" type="presParOf" srcId="{8A88D62F-F05E-4594-9CFC-3A938BE42A7C}" destId="{703FBACE-62DE-4EA0-8520-492E7B3A9397}" srcOrd="1" destOrd="0" presId="urn:microsoft.com/office/officeart/2005/8/layout/orgChart1"/>
    <dgm:cxn modelId="{7A51C98A-7AC2-411C-B064-8CBCB6124383}" type="presParOf" srcId="{8A88D62F-F05E-4594-9CFC-3A938BE42A7C}" destId="{710B4C86-F86D-4322-9684-FEE7B80A44C3}" srcOrd="2" destOrd="0" presId="urn:microsoft.com/office/officeart/2005/8/layout/orgChart1"/>
    <dgm:cxn modelId="{20A0080D-2AA5-4318-A71C-477CF153CA6F}" type="presParOf" srcId="{43CF9CD4-CFC9-4003-A94A-5A11D2281E58}" destId="{B62563C7-811E-4389-9512-E12BE4C8D862}" srcOrd="2" destOrd="0" presId="urn:microsoft.com/office/officeart/2005/8/layout/orgChart1"/>
    <dgm:cxn modelId="{3DA6635B-B891-4FA8-82FC-2DB84BBA5884}" type="presParOf" srcId="{8B5790A0-1C36-4903-B508-7C2EC61A34DC}" destId="{B598C8A1-5282-460C-921D-57DC0098AACE}" srcOrd="2" destOrd="0" presId="urn:microsoft.com/office/officeart/2005/8/layout/orgChart1"/>
    <dgm:cxn modelId="{B8E188CE-51C9-4244-AC73-250C95D978A4}" type="presParOf" srcId="{8B5790A0-1C36-4903-B508-7C2EC61A34DC}" destId="{89E67C70-9D48-48A5-817C-C5DA501382C5}" srcOrd="3" destOrd="0" presId="urn:microsoft.com/office/officeart/2005/8/layout/orgChart1"/>
    <dgm:cxn modelId="{98B3D13A-6F80-4D8F-BCF5-8952BD4116C1}" type="presParOf" srcId="{89E67C70-9D48-48A5-817C-C5DA501382C5}" destId="{50D890AB-4E15-4F77-B189-41E68E61E038}" srcOrd="0" destOrd="0" presId="urn:microsoft.com/office/officeart/2005/8/layout/orgChart1"/>
    <dgm:cxn modelId="{41FA546B-F707-4E06-B5B0-EF01C861C52A}" type="presParOf" srcId="{50D890AB-4E15-4F77-B189-41E68E61E038}" destId="{958A74AB-441F-4A67-9B01-17F01BD443FE}" srcOrd="0" destOrd="0" presId="urn:microsoft.com/office/officeart/2005/8/layout/orgChart1"/>
    <dgm:cxn modelId="{0EC8C221-EF7F-4601-8B61-18CF60ECE83F}" type="presParOf" srcId="{50D890AB-4E15-4F77-B189-41E68E61E038}" destId="{1F61194A-2846-4862-A4AB-A27E28709D68}" srcOrd="1" destOrd="0" presId="urn:microsoft.com/office/officeart/2005/8/layout/orgChart1"/>
    <dgm:cxn modelId="{6F97BF20-2B4D-4D63-9377-9B5B18B5A901}" type="presParOf" srcId="{89E67C70-9D48-48A5-817C-C5DA501382C5}" destId="{41943B93-F852-4A44-856C-3DB162D69467}" srcOrd="1" destOrd="0" presId="urn:microsoft.com/office/officeart/2005/8/layout/orgChart1"/>
    <dgm:cxn modelId="{64BCB2D0-63FC-4996-94D7-6F13A2B28432}" type="presParOf" srcId="{41943B93-F852-4A44-856C-3DB162D69467}" destId="{F462C0E1-FBF7-432D-9B2D-7C41AB62C944}" srcOrd="0" destOrd="0" presId="urn:microsoft.com/office/officeart/2005/8/layout/orgChart1"/>
    <dgm:cxn modelId="{0531C6CE-5718-4B96-B3B1-23F7AC1473F2}" type="presParOf" srcId="{41943B93-F852-4A44-856C-3DB162D69467}" destId="{E8B65103-66E8-4F64-A343-16CE00BEBBE8}" srcOrd="1" destOrd="0" presId="urn:microsoft.com/office/officeart/2005/8/layout/orgChart1"/>
    <dgm:cxn modelId="{5B119B5E-76A7-467F-BEB9-92217DBE9A77}" type="presParOf" srcId="{E8B65103-66E8-4F64-A343-16CE00BEBBE8}" destId="{7F0917F3-8236-4640-9A75-93B1E1A63E7A}" srcOrd="0" destOrd="0" presId="urn:microsoft.com/office/officeart/2005/8/layout/orgChart1"/>
    <dgm:cxn modelId="{BF9BE43F-54D8-4DB4-AB86-E0747D74B417}" type="presParOf" srcId="{7F0917F3-8236-4640-9A75-93B1E1A63E7A}" destId="{9BB275DA-E721-47DD-99EC-6B92C92B76E4}" srcOrd="0" destOrd="0" presId="urn:microsoft.com/office/officeart/2005/8/layout/orgChart1"/>
    <dgm:cxn modelId="{6F2EA719-99FD-411E-B35F-AE102B2DB721}" type="presParOf" srcId="{7F0917F3-8236-4640-9A75-93B1E1A63E7A}" destId="{0E6B3779-0C66-4E3B-9838-813D9B027014}" srcOrd="1" destOrd="0" presId="urn:microsoft.com/office/officeart/2005/8/layout/orgChart1"/>
    <dgm:cxn modelId="{0332FDCD-685A-49E5-B2A2-20F4C297F34B}" type="presParOf" srcId="{E8B65103-66E8-4F64-A343-16CE00BEBBE8}" destId="{07B87B1D-D6B9-4E61-8B19-A86AC5CF1A1C}" srcOrd="1" destOrd="0" presId="urn:microsoft.com/office/officeart/2005/8/layout/orgChart1"/>
    <dgm:cxn modelId="{06DEE035-670C-4F12-9212-50590CBF77A5}" type="presParOf" srcId="{E8B65103-66E8-4F64-A343-16CE00BEBBE8}" destId="{6C1A8AC9-8E50-4FD0-9D68-2D86C2259E25}" srcOrd="2" destOrd="0" presId="urn:microsoft.com/office/officeart/2005/8/layout/orgChart1"/>
    <dgm:cxn modelId="{3846BBB4-54FB-49DB-BC90-22DA8B5A6C10}" type="presParOf" srcId="{89E67C70-9D48-48A5-817C-C5DA501382C5}" destId="{5B464CBC-8A3C-4E26-8BC7-D55BAE1FFBC7}" srcOrd="2" destOrd="0" presId="urn:microsoft.com/office/officeart/2005/8/layout/orgChart1"/>
    <dgm:cxn modelId="{4B5ED9C7-5B0D-4F2B-AC2F-B30D353363A9}" type="presParOf" srcId="{8B5790A0-1C36-4903-B508-7C2EC61A34DC}" destId="{D4194DF9-5481-4F19-A6C8-C32DC60A8FDE}" srcOrd="4" destOrd="0" presId="urn:microsoft.com/office/officeart/2005/8/layout/orgChart1"/>
    <dgm:cxn modelId="{F346F231-B6D3-4188-8AB5-0C132633C685}" type="presParOf" srcId="{8B5790A0-1C36-4903-B508-7C2EC61A34DC}" destId="{703372F7-EE50-44C9-B0C5-8BA19203009D}" srcOrd="5" destOrd="0" presId="urn:microsoft.com/office/officeart/2005/8/layout/orgChart1"/>
    <dgm:cxn modelId="{62364B6B-BC6E-46BE-AF78-6AC632F68C96}" type="presParOf" srcId="{703372F7-EE50-44C9-B0C5-8BA19203009D}" destId="{286E4DEA-8DA4-47E6-B3B0-1B6F81450B33}" srcOrd="0" destOrd="0" presId="urn:microsoft.com/office/officeart/2005/8/layout/orgChart1"/>
    <dgm:cxn modelId="{5083DA74-E6B9-40BB-A0CC-8BFF8153E567}" type="presParOf" srcId="{286E4DEA-8DA4-47E6-B3B0-1B6F81450B33}" destId="{AEF642B5-7B6F-42EE-AB44-30CBB52497B3}" srcOrd="0" destOrd="0" presId="urn:microsoft.com/office/officeart/2005/8/layout/orgChart1"/>
    <dgm:cxn modelId="{87C8AECD-BF10-48F3-8663-345306C48198}" type="presParOf" srcId="{286E4DEA-8DA4-47E6-B3B0-1B6F81450B33}" destId="{70EBD570-3985-45AA-AC6C-392086EA61F0}" srcOrd="1" destOrd="0" presId="urn:microsoft.com/office/officeart/2005/8/layout/orgChart1"/>
    <dgm:cxn modelId="{082869F3-2BC5-4DC4-A6C1-BF273FDD5B49}" type="presParOf" srcId="{703372F7-EE50-44C9-B0C5-8BA19203009D}" destId="{A569AE46-F0B3-42A9-BE92-0192B0295B62}" srcOrd="1" destOrd="0" presId="urn:microsoft.com/office/officeart/2005/8/layout/orgChart1"/>
    <dgm:cxn modelId="{8654038B-5AB9-45A7-9ED0-1C3DA1C82941}" type="presParOf" srcId="{A569AE46-F0B3-42A9-BE92-0192B0295B62}" destId="{5E4FB5ED-8F35-4D7B-834B-DB836D30DE80}" srcOrd="0" destOrd="0" presId="urn:microsoft.com/office/officeart/2005/8/layout/orgChart1"/>
    <dgm:cxn modelId="{3F59D7A4-B4D7-4892-B637-AA73601A3CC8}" type="presParOf" srcId="{A569AE46-F0B3-42A9-BE92-0192B0295B62}" destId="{C0721F45-054F-4C42-ACFE-FE340307E76B}" srcOrd="1" destOrd="0" presId="urn:microsoft.com/office/officeart/2005/8/layout/orgChart1"/>
    <dgm:cxn modelId="{A36D61C8-D67E-475F-B4C7-B213C459303B}" type="presParOf" srcId="{C0721F45-054F-4C42-ACFE-FE340307E76B}" destId="{7C2B1C2D-E208-45F0-B398-D546BD1D0A80}" srcOrd="0" destOrd="0" presId="urn:microsoft.com/office/officeart/2005/8/layout/orgChart1"/>
    <dgm:cxn modelId="{B3B9DE31-047D-400D-8C8C-60B29C01EF62}" type="presParOf" srcId="{7C2B1C2D-E208-45F0-B398-D546BD1D0A80}" destId="{D65D1D60-FC15-490F-9D25-099794831BEB}" srcOrd="0" destOrd="0" presId="urn:microsoft.com/office/officeart/2005/8/layout/orgChart1"/>
    <dgm:cxn modelId="{E6F69FAF-39B1-4E0D-9350-394BD4AB816A}" type="presParOf" srcId="{7C2B1C2D-E208-45F0-B398-D546BD1D0A80}" destId="{D258BA18-4005-4D88-A6CB-C8A5E4D34E15}" srcOrd="1" destOrd="0" presId="urn:microsoft.com/office/officeart/2005/8/layout/orgChart1"/>
    <dgm:cxn modelId="{C376E7FA-C5D0-43C5-9929-F23C3DBCF5B6}" type="presParOf" srcId="{C0721F45-054F-4C42-ACFE-FE340307E76B}" destId="{B0716DCE-5C01-433A-9B9B-F0BABF2A663A}" srcOrd="1" destOrd="0" presId="urn:microsoft.com/office/officeart/2005/8/layout/orgChart1"/>
    <dgm:cxn modelId="{A8E43332-A501-4046-B926-6718CA456A13}" type="presParOf" srcId="{C0721F45-054F-4C42-ACFE-FE340307E76B}" destId="{6FD5B1C5-5EA0-4267-9C9A-0EE571937105}" srcOrd="2" destOrd="0" presId="urn:microsoft.com/office/officeart/2005/8/layout/orgChart1"/>
    <dgm:cxn modelId="{B2C73F15-4E35-4B3B-BF7F-C74ACEB0E318}" type="presParOf" srcId="{703372F7-EE50-44C9-B0C5-8BA19203009D}" destId="{7ABC28BD-4AC5-492E-9AEA-DFB3719AEFDD}" srcOrd="2" destOrd="0" presId="urn:microsoft.com/office/officeart/2005/8/layout/orgChart1"/>
    <dgm:cxn modelId="{76A57CDA-C0A3-4DC7-B6B2-E216A28B37EC}" type="presParOf" srcId="{B0D68BEB-6434-49CE-A42A-B87FB8F667B5}" destId="{44783545-01BB-4CE9-961F-865A003BD77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6933298-4D9E-40A3-B5D8-A4A6A99A0794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de-DE"/>
        </a:p>
      </dgm:t>
    </dgm:pt>
    <dgm:pt modelId="{B563B5C7-491C-43ED-8644-B9A5501BD90F}">
      <dgm:prSet/>
      <dgm:spPr/>
      <dgm:t>
        <a:bodyPr/>
        <a:lstStyle/>
        <a:p>
          <a:r>
            <a:rPr lang="de-DE"/>
            <a:t>Ermitteln des Zerfallszustands anhand der Zerfallrate der Turbine und des Kompressors</a:t>
          </a:r>
        </a:p>
      </dgm:t>
    </dgm:pt>
    <dgm:pt modelId="{EA74229C-8675-4C34-A168-7F13CAE39698}" type="parTrans" cxnId="{EC0BF536-4BDC-4F25-9022-21C30E0FBD4E}">
      <dgm:prSet/>
      <dgm:spPr/>
      <dgm:t>
        <a:bodyPr/>
        <a:lstStyle/>
        <a:p>
          <a:endParaRPr lang="de-DE"/>
        </a:p>
      </dgm:t>
    </dgm:pt>
    <dgm:pt modelId="{4E897143-5FF6-4807-88E9-A5CDA1198F4E}" type="sibTrans" cxnId="{EC0BF536-4BDC-4F25-9022-21C30E0FBD4E}">
      <dgm:prSet/>
      <dgm:spPr/>
      <dgm:t>
        <a:bodyPr/>
        <a:lstStyle/>
        <a:p>
          <a:endParaRPr lang="de-DE"/>
        </a:p>
      </dgm:t>
    </dgm:pt>
    <dgm:pt modelId="{8D186DED-9160-4D04-B8BE-B04C579D0672}">
      <dgm:prSet/>
      <dgm:spPr/>
      <dgm:t>
        <a:bodyPr/>
        <a:lstStyle/>
        <a:p>
          <a:r>
            <a:rPr lang="de-DE"/>
            <a:t>Einteilung in: kaputt, zerfallend, nicht zerfallend</a:t>
          </a:r>
        </a:p>
      </dgm:t>
    </dgm:pt>
    <dgm:pt modelId="{109814F8-ABB3-4FA0-922F-EB95D807E0BD}" type="parTrans" cxnId="{B11CB6E9-0A6D-4D31-9397-5ED3D1FA1CEA}">
      <dgm:prSet/>
      <dgm:spPr/>
      <dgm:t>
        <a:bodyPr/>
        <a:lstStyle/>
        <a:p>
          <a:endParaRPr lang="de-DE"/>
        </a:p>
      </dgm:t>
    </dgm:pt>
    <dgm:pt modelId="{F5AA98F2-9D9E-485C-9FA9-ACD459FE40AF}" type="sibTrans" cxnId="{B11CB6E9-0A6D-4D31-9397-5ED3D1FA1CEA}">
      <dgm:prSet/>
      <dgm:spPr/>
      <dgm:t>
        <a:bodyPr/>
        <a:lstStyle/>
        <a:p>
          <a:endParaRPr lang="de-DE"/>
        </a:p>
      </dgm:t>
    </dgm:pt>
    <dgm:pt modelId="{734E511D-E380-492F-84A0-2422FA9AE28D}">
      <dgm:prSet/>
      <dgm:spPr/>
      <dgm:t>
        <a:bodyPr/>
        <a:lstStyle/>
        <a:p>
          <a:r>
            <a:rPr lang="de-DE"/>
            <a:t>Aufteilen in Trainings-, Validierungs- und Testdatensatz </a:t>
          </a:r>
        </a:p>
      </dgm:t>
    </dgm:pt>
    <dgm:pt modelId="{0ACB0C48-9117-494F-AB96-D06B0020BB72}" type="parTrans" cxnId="{4A238208-E34A-4278-8A5E-A0FD710D1312}">
      <dgm:prSet/>
      <dgm:spPr/>
      <dgm:t>
        <a:bodyPr/>
        <a:lstStyle/>
        <a:p>
          <a:endParaRPr lang="de-DE"/>
        </a:p>
      </dgm:t>
    </dgm:pt>
    <dgm:pt modelId="{8E0EEFD2-C1A8-4CC9-9E6D-E56B1B18F9FE}" type="sibTrans" cxnId="{4A238208-E34A-4278-8A5E-A0FD710D1312}">
      <dgm:prSet/>
      <dgm:spPr/>
      <dgm:t>
        <a:bodyPr/>
        <a:lstStyle/>
        <a:p>
          <a:endParaRPr lang="de-DE"/>
        </a:p>
      </dgm:t>
    </dgm:pt>
    <dgm:pt modelId="{733B828D-E600-4A25-BC30-7189875BCF08}">
      <dgm:prSet/>
      <dgm:spPr/>
      <dgm:t>
        <a:bodyPr/>
        <a:lstStyle/>
        <a:p>
          <a:r>
            <a:rPr lang="de-DE"/>
            <a:t>Skalierung: Daten auf Standardnormalverteilung skalieren</a:t>
          </a:r>
        </a:p>
      </dgm:t>
    </dgm:pt>
    <dgm:pt modelId="{42EF337B-DA08-48D1-843A-F5AC752077E5}" type="parTrans" cxnId="{FFF0AA9C-75E6-414A-8F28-3143362F49A2}">
      <dgm:prSet/>
      <dgm:spPr/>
      <dgm:t>
        <a:bodyPr/>
        <a:lstStyle/>
        <a:p>
          <a:endParaRPr lang="de-DE"/>
        </a:p>
      </dgm:t>
    </dgm:pt>
    <dgm:pt modelId="{96CE5C8D-069A-49FE-866A-CAD1F194225F}" type="sibTrans" cxnId="{FFF0AA9C-75E6-414A-8F28-3143362F49A2}">
      <dgm:prSet/>
      <dgm:spPr/>
      <dgm:t>
        <a:bodyPr/>
        <a:lstStyle/>
        <a:p>
          <a:endParaRPr lang="de-DE"/>
        </a:p>
      </dgm:t>
    </dgm:pt>
    <dgm:pt modelId="{DDA545AE-7C07-454F-BB57-8193DB7C9661}" type="pres">
      <dgm:prSet presAssocID="{86933298-4D9E-40A3-B5D8-A4A6A99A0794}" presName="CompostProcess" presStyleCnt="0">
        <dgm:presLayoutVars>
          <dgm:dir/>
          <dgm:resizeHandles val="exact"/>
        </dgm:presLayoutVars>
      </dgm:prSet>
      <dgm:spPr/>
    </dgm:pt>
    <dgm:pt modelId="{57F069B4-B5ED-4435-9454-EE4AF1FA8E0C}" type="pres">
      <dgm:prSet presAssocID="{86933298-4D9E-40A3-B5D8-A4A6A99A0794}" presName="arrow" presStyleLbl="bgShp" presStyleIdx="0" presStyleCnt="1"/>
      <dgm:spPr/>
    </dgm:pt>
    <dgm:pt modelId="{1924389A-5ED7-4E8F-9C8A-8F059D9E1C11}" type="pres">
      <dgm:prSet presAssocID="{86933298-4D9E-40A3-B5D8-A4A6A99A0794}" presName="linearProcess" presStyleCnt="0"/>
      <dgm:spPr/>
    </dgm:pt>
    <dgm:pt modelId="{F1A23F4F-0A7C-4C5D-8567-98845A6BD93C}" type="pres">
      <dgm:prSet presAssocID="{B563B5C7-491C-43ED-8644-B9A5501BD90F}" presName="textNode" presStyleLbl="node1" presStyleIdx="0" presStyleCnt="3">
        <dgm:presLayoutVars>
          <dgm:bulletEnabled val="1"/>
        </dgm:presLayoutVars>
      </dgm:prSet>
      <dgm:spPr/>
    </dgm:pt>
    <dgm:pt modelId="{7323CDFB-F19F-4919-AFED-6451E19EF981}" type="pres">
      <dgm:prSet presAssocID="{4E897143-5FF6-4807-88E9-A5CDA1198F4E}" presName="sibTrans" presStyleCnt="0"/>
      <dgm:spPr/>
    </dgm:pt>
    <dgm:pt modelId="{03B10DDF-F3D0-4E9F-BCAB-7C34A28E18F2}" type="pres">
      <dgm:prSet presAssocID="{734E511D-E380-492F-84A0-2422FA9AE28D}" presName="textNode" presStyleLbl="node1" presStyleIdx="1" presStyleCnt="3">
        <dgm:presLayoutVars>
          <dgm:bulletEnabled val="1"/>
        </dgm:presLayoutVars>
      </dgm:prSet>
      <dgm:spPr/>
    </dgm:pt>
    <dgm:pt modelId="{42FDACF7-BC91-45C1-89D0-AC55EC9C8A9E}" type="pres">
      <dgm:prSet presAssocID="{8E0EEFD2-C1A8-4CC9-9E6D-E56B1B18F9FE}" presName="sibTrans" presStyleCnt="0"/>
      <dgm:spPr/>
    </dgm:pt>
    <dgm:pt modelId="{D7F1DFD6-B6B8-4F7B-B5D8-3BF4F4819647}" type="pres">
      <dgm:prSet presAssocID="{733B828D-E600-4A25-BC30-7189875BCF08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4A238208-E34A-4278-8A5E-A0FD710D1312}" srcId="{86933298-4D9E-40A3-B5D8-A4A6A99A0794}" destId="{734E511D-E380-492F-84A0-2422FA9AE28D}" srcOrd="1" destOrd="0" parTransId="{0ACB0C48-9117-494F-AB96-D06B0020BB72}" sibTransId="{8E0EEFD2-C1A8-4CC9-9E6D-E56B1B18F9FE}"/>
    <dgm:cxn modelId="{EC0BF536-4BDC-4F25-9022-21C30E0FBD4E}" srcId="{86933298-4D9E-40A3-B5D8-A4A6A99A0794}" destId="{B563B5C7-491C-43ED-8644-B9A5501BD90F}" srcOrd="0" destOrd="0" parTransId="{EA74229C-8675-4C34-A168-7F13CAE39698}" sibTransId="{4E897143-5FF6-4807-88E9-A5CDA1198F4E}"/>
    <dgm:cxn modelId="{AD1F8166-4F2F-4777-9739-92B1F2DE406D}" type="presOf" srcId="{733B828D-E600-4A25-BC30-7189875BCF08}" destId="{D7F1DFD6-B6B8-4F7B-B5D8-3BF4F4819647}" srcOrd="0" destOrd="0" presId="urn:microsoft.com/office/officeart/2005/8/layout/hProcess9"/>
    <dgm:cxn modelId="{BDC49985-008A-481A-AE62-41B0287912F4}" type="presOf" srcId="{86933298-4D9E-40A3-B5D8-A4A6A99A0794}" destId="{DDA545AE-7C07-454F-BB57-8193DB7C9661}" srcOrd="0" destOrd="0" presId="urn:microsoft.com/office/officeart/2005/8/layout/hProcess9"/>
    <dgm:cxn modelId="{FFF0AA9C-75E6-414A-8F28-3143362F49A2}" srcId="{86933298-4D9E-40A3-B5D8-A4A6A99A0794}" destId="{733B828D-E600-4A25-BC30-7189875BCF08}" srcOrd="2" destOrd="0" parTransId="{42EF337B-DA08-48D1-843A-F5AC752077E5}" sibTransId="{96CE5C8D-069A-49FE-866A-CAD1F194225F}"/>
    <dgm:cxn modelId="{B6E8E0AF-5C90-4413-874E-B27B0BF01375}" type="presOf" srcId="{734E511D-E380-492F-84A0-2422FA9AE28D}" destId="{03B10DDF-F3D0-4E9F-BCAB-7C34A28E18F2}" srcOrd="0" destOrd="0" presId="urn:microsoft.com/office/officeart/2005/8/layout/hProcess9"/>
    <dgm:cxn modelId="{8A6691C3-BD98-40E9-BC01-2171E4417105}" type="presOf" srcId="{8D186DED-9160-4D04-B8BE-B04C579D0672}" destId="{F1A23F4F-0A7C-4C5D-8567-98845A6BD93C}" srcOrd="0" destOrd="1" presId="urn:microsoft.com/office/officeart/2005/8/layout/hProcess9"/>
    <dgm:cxn modelId="{C21211D5-1B33-42F2-940F-2241DD49C6D9}" type="presOf" srcId="{B563B5C7-491C-43ED-8644-B9A5501BD90F}" destId="{F1A23F4F-0A7C-4C5D-8567-98845A6BD93C}" srcOrd="0" destOrd="0" presId="urn:microsoft.com/office/officeart/2005/8/layout/hProcess9"/>
    <dgm:cxn modelId="{B11CB6E9-0A6D-4D31-9397-5ED3D1FA1CEA}" srcId="{B563B5C7-491C-43ED-8644-B9A5501BD90F}" destId="{8D186DED-9160-4D04-B8BE-B04C579D0672}" srcOrd="0" destOrd="0" parTransId="{109814F8-ABB3-4FA0-922F-EB95D807E0BD}" sibTransId="{F5AA98F2-9D9E-485C-9FA9-ACD459FE40AF}"/>
    <dgm:cxn modelId="{F073561B-3F68-4E9F-BA96-FA027FFB37F5}" type="presParOf" srcId="{DDA545AE-7C07-454F-BB57-8193DB7C9661}" destId="{57F069B4-B5ED-4435-9454-EE4AF1FA8E0C}" srcOrd="0" destOrd="0" presId="urn:microsoft.com/office/officeart/2005/8/layout/hProcess9"/>
    <dgm:cxn modelId="{CF21F6A8-5DAC-41FF-A704-1F8E6DDCA9D2}" type="presParOf" srcId="{DDA545AE-7C07-454F-BB57-8193DB7C9661}" destId="{1924389A-5ED7-4E8F-9C8A-8F059D9E1C11}" srcOrd="1" destOrd="0" presId="urn:microsoft.com/office/officeart/2005/8/layout/hProcess9"/>
    <dgm:cxn modelId="{9E55402B-8633-452D-AE53-65869D61C388}" type="presParOf" srcId="{1924389A-5ED7-4E8F-9C8A-8F059D9E1C11}" destId="{F1A23F4F-0A7C-4C5D-8567-98845A6BD93C}" srcOrd="0" destOrd="0" presId="urn:microsoft.com/office/officeart/2005/8/layout/hProcess9"/>
    <dgm:cxn modelId="{8A90A511-CD5F-4A1E-BE50-458EA9791093}" type="presParOf" srcId="{1924389A-5ED7-4E8F-9C8A-8F059D9E1C11}" destId="{7323CDFB-F19F-4919-AFED-6451E19EF981}" srcOrd="1" destOrd="0" presId="urn:microsoft.com/office/officeart/2005/8/layout/hProcess9"/>
    <dgm:cxn modelId="{0A34A791-17BB-40DB-8291-390D1150D62D}" type="presParOf" srcId="{1924389A-5ED7-4E8F-9C8A-8F059D9E1C11}" destId="{03B10DDF-F3D0-4E9F-BCAB-7C34A28E18F2}" srcOrd="2" destOrd="0" presId="urn:microsoft.com/office/officeart/2005/8/layout/hProcess9"/>
    <dgm:cxn modelId="{133F5C67-209B-40C0-8565-D91268403BDD}" type="presParOf" srcId="{1924389A-5ED7-4E8F-9C8A-8F059D9E1C11}" destId="{42FDACF7-BC91-45C1-89D0-AC55EC9C8A9E}" srcOrd="3" destOrd="0" presId="urn:microsoft.com/office/officeart/2005/8/layout/hProcess9"/>
    <dgm:cxn modelId="{68F83854-3AD1-441C-89EA-C6806A94C835}" type="presParOf" srcId="{1924389A-5ED7-4E8F-9C8A-8F059D9E1C11}" destId="{D7F1DFD6-B6B8-4F7B-B5D8-3BF4F4819647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15D94B-2DC5-4DF4-AED7-CE1CB5FF5D13}">
      <dsp:nvSpPr>
        <dsp:cNvPr id="0" name=""/>
        <dsp:cNvSpPr/>
      </dsp:nvSpPr>
      <dsp:spPr>
        <a:xfrm>
          <a:off x="0" y="215190"/>
          <a:ext cx="8064500" cy="86399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F6E557-FBC9-4F08-A16D-2EAA40217C51}">
      <dsp:nvSpPr>
        <dsp:cNvPr id="0" name=""/>
        <dsp:cNvSpPr/>
      </dsp:nvSpPr>
      <dsp:spPr>
        <a:xfrm>
          <a:off x="391214" y="291538"/>
          <a:ext cx="711298" cy="71129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AD194C-D34B-4158-A93A-DF167927EFEA}">
      <dsp:nvSpPr>
        <dsp:cNvPr id="0" name=""/>
        <dsp:cNvSpPr/>
      </dsp:nvSpPr>
      <dsp:spPr>
        <a:xfrm>
          <a:off x="1222090" y="0"/>
          <a:ext cx="6570773" cy="1293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6871" tIns="136871" rIns="136871" bIns="13687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Datensatz</a:t>
          </a:r>
          <a:endParaRPr lang="en-US" sz="2500" kern="1200" dirty="0"/>
        </a:p>
      </dsp:txBody>
      <dsp:txXfrm>
        <a:off x="1222090" y="0"/>
        <a:ext cx="6570773" cy="1293269"/>
      </dsp:txXfrm>
    </dsp:sp>
    <dsp:sp modelId="{94246F23-74FE-46B8-A6B9-F7BD6C065095}">
      <dsp:nvSpPr>
        <dsp:cNvPr id="0" name=""/>
        <dsp:cNvSpPr/>
      </dsp:nvSpPr>
      <dsp:spPr>
        <a:xfrm>
          <a:off x="0" y="1422470"/>
          <a:ext cx="8064500" cy="86399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FDEF97-6C6C-43DB-91FE-EFE3255A74D9}">
      <dsp:nvSpPr>
        <dsp:cNvPr id="0" name=""/>
        <dsp:cNvSpPr/>
      </dsp:nvSpPr>
      <dsp:spPr>
        <a:xfrm>
          <a:off x="335028" y="1535028"/>
          <a:ext cx="711298" cy="71129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C89F2B-29B3-4730-8A2E-9445C061DB9D}">
      <dsp:nvSpPr>
        <dsp:cNvPr id="0" name=""/>
        <dsp:cNvSpPr/>
      </dsp:nvSpPr>
      <dsp:spPr>
        <a:xfrm>
          <a:off x="1210592" y="1431523"/>
          <a:ext cx="6570773" cy="863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6871" tIns="136871" rIns="136871" bIns="13687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Neuronales</a:t>
          </a:r>
          <a:r>
            <a:rPr lang="en-US" sz="2500" kern="1200" dirty="0"/>
            <a:t> </a:t>
          </a:r>
          <a:r>
            <a:rPr lang="en-US" sz="2500" kern="1200" dirty="0" err="1"/>
            <a:t>Netz</a:t>
          </a:r>
          <a:endParaRPr lang="en-US" sz="2500" kern="1200" dirty="0"/>
        </a:p>
      </dsp:txBody>
      <dsp:txXfrm>
        <a:off x="1210592" y="1431523"/>
        <a:ext cx="6570773" cy="863994"/>
      </dsp:txXfrm>
    </dsp:sp>
    <dsp:sp modelId="{506EA9BE-631A-4744-84F2-825BF743D439}">
      <dsp:nvSpPr>
        <dsp:cNvPr id="0" name=""/>
        <dsp:cNvSpPr/>
      </dsp:nvSpPr>
      <dsp:spPr>
        <a:xfrm>
          <a:off x="0" y="2618887"/>
          <a:ext cx="8064500" cy="86399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26D537-175D-4C02-87F0-AC7104C66423}">
      <dsp:nvSpPr>
        <dsp:cNvPr id="0" name=""/>
        <dsp:cNvSpPr/>
      </dsp:nvSpPr>
      <dsp:spPr>
        <a:xfrm>
          <a:off x="312999" y="2686191"/>
          <a:ext cx="711298" cy="71129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711872-A3F5-4E13-A9A5-9E5A59FD10EA}">
      <dsp:nvSpPr>
        <dsp:cNvPr id="0" name=""/>
        <dsp:cNvSpPr/>
      </dsp:nvSpPr>
      <dsp:spPr>
        <a:xfrm>
          <a:off x="1237795" y="2618887"/>
          <a:ext cx="6570773" cy="863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6871" tIns="136871" rIns="136871" bIns="13687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Ergebnisse</a:t>
          </a:r>
          <a:endParaRPr lang="en-US" sz="2500" kern="1200" dirty="0"/>
        </a:p>
      </dsp:txBody>
      <dsp:txXfrm>
        <a:off x="1237795" y="2618887"/>
        <a:ext cx="6570773" cy="8639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C4D22-B71A-4330-9271-ABE8302BCA46}">
      <dsp:nvSpPr>
        <dsp:cNvPr id="0" name=""/>
        <dsp:cNvSpPr/>
      </dsp:nvSpPr>
      <dsp:spPr>
        <a:xfrm>
          <a:off x="0" y="25385"/>
          <a:ext cx="8064500" cy="40320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Datensatz: Condition Based Maintenance of Naval Propulsion Plants</a:t>
          </a:r>
          <a:r>
            <a:rPr lang="de-DE" sz="1400" kern="1200" baseline="30000"/>
            <a:t>1</a:t>
          </a:r>
          <a:endParaRPr lang="de-DE" sz="1400" kern="1200"/>
        </a:p>
      </dsp:txBody>
      <dsp:txXfrm>
        <a:off x="0" y="25385"/>
        <a:ext cx="8064500" cy="403200"/>
      </dsp:txXfrm>
    </dsp:sp>
    <dsp:sp modelId="{D32E1AB2-FF4F-492C-A791-033C8D28C91B}">
      <dsp:nvSpPr>
        <dsp:cNvPr id="0" name=""/>
        <dsp:cNvSpPr/>
      </dsp:nvSpPr>
      <dsp:spPr>
        <a:xfrm>
          <a:off x="0" y="428585"/>
          <a:ext cx="8064500" cy="407357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Anhand einer Simulation erstell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16 Attribute und zwei Zielvariablen: Zerfall von Schiffsturbine und –kompressor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Stellung des Steuerungshebels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Schiffsgeschwindigkeit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Wellendrehmoment der Gasturbine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Drehzahl der Gasturbine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Gas-Generator-Drehzahl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Steuerbord-Propeller-Drehmoment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Backbord-Propeller-Drehmoment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 dirty="0"/>
            <a:t>Turbinenaustrittstemperatur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Eintrittslufttemperatur des Verdichters der Gasturbine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Austrittslufttemperatur des Verdichters der Gasturbine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Turbinenaustrittstemperatur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Lufteingangsdruck des Verdichters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Verdichterausgangsdruck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Abgasdruck der Gasturbine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Turbinen-Einspritzregelung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kern="1200"/>
            <a:t>Kraftstoffdurchsatz</a:t>
          </a:r>
        </a:p>
      </dsp:txBody>
      <dsp:txXfrm>
        <a:off x="0" y="428585"/>
        <a:ext cx="8064500" cy="407357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4FB5ED-8F35-4D7B-834B-DB836D30DE80}">
      <dsp:nvSpPr>
        <dsp:cNvPr id="0" name=""/>
        <dsp:cNvSpPr/>
      </dsp:nvSpPr>
      <dsp:spPr>
        <a:xfrm>
          <a:off x="5535681" y="2812979"/>
          <a:ext cx="329273" cy="10097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09771"/>
              </a:lnTo>
              <a:lnTo>
                <a:pt x="329273" y="1009771"/>
              </a:lnTo>
            </a:path>
          </a:pathLst>
        </a:custGeom>
        <a:noFill/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194DF9-5481-4F19-A6C8-C32DC60A8FDE}">
      <dsp:nvSpPr>
        <dsp:cNvPr id="0" name=""/>
        <dsp:cNvSpPr/>
      </dsp:nvSpPr>
      <dsp:spPr>
        <a:xfrm>
          <a:off x="3757605" y="1254419"/>
          <a:ext cx="2656138" cy="4609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491"/>
              </a:lnTo>
              <a:lnTo>
                <a:pt x="2656138" y="230491"/>
              </a:lnTo>
              <a:lnTo>
                <a:pt x="2656138" y="46098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62C0E1-FBF7-432D-9B2D-7C41AB62C944}">
      <dsp:nvSpPr>
        <dsp:cNvPr id="0" name=""/>
        <dsp:cNvSpPr/>
      </dsp:nvSpPr>
      <dsp:spPr>
        <a:xfrm>
          <a:off x="2879542" y="2812979"/>
          <a:ext cx="329273" cy="10097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09771"/>
              </a:lnTo>
              <a:lnTo>
                <a:pt x="329273" y="1009771"/>
              </a:lnTo>
            </a:path>
          </a:pathLst>
        </a:custGeom>
        <a:noFill/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98C8A1-5282-460C-921D-57DC0098AACE}">
      <dsp:nvSpPr>
        <dsp:cNvPr id="0" name=""/>
        <dsp:cNvSpPr/>
      </dsp:nvSpPr>
      <dsp:spPr>
        <a:xfrm>
          <a:off x="3711885" y="1254419"/>
          <a:ext cx="91440" cy="46098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6098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3412D4-70C1-44DC-8CAA-7F6A3456EAAB}">
      <dsp:nvSpPr>
        <dsp:cNvPr id="0" name=""/>
        <dsp:cNvSpPr/>
      </dsp:nvSpPr>
      <dsp:spPr>
        <a:xfrm>
          <a:off x="223403" y="2812979"/>
          <a:ext cx="329273" cy="10097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09771"/>
              </a:lnTo>
              <a:lnTo>
                <a:pt x="329273" y="1009771"/>
              </a:lnTo>
            </a:path>
          </a:pathLst>
        </a:custGeom>
        <a:noFill/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FF08D2-9D92-4A74-8B38-DE697C0559F4}">
      <dsp:nvSpPr>
        <dsp:cNvPr id="0" name=""/>
        <dsp:cNvSpPr/>
      </dsp:nvSpPr>
      <dsp:spPr>
        <a:xfrm>
          <a:off x="1101466" y="1254419"/>
          <a:ext cx="2656138" cy="460982"/>
        </a:xfrm>
        <a:custGeom>
          <a:avLst/>
          <a:gdLst/>
          <a:ahLst/>
          <a:cxnLst/>
          <a:rect l="0" t="0" r="0" b="0"/>
          <a:pathLst>
            <a:path>
              <a:moveTo>
                <a:pt x="2656138" y="0"/>
              </a:moveTo>
              <a:lnTo>
                <a:pt x="2656138" y="230491"/>
              </a:lnTo>
              <a:lnTo>
                <a:pt x="0" y="230491"/>
              </a:lnTo>
              <a:lnTo>
                <a:pt x="0" y="46098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498AA2-D1C1-4A28-A351-3B5187420F06}">
      <dsp:nvSpPr>
        <dsp:cNvPr id="0" name=""/>
        <dsp:cNvSpPr/>
      </dsp:nvSpPr>
      <dsp:spPr>
        <a:xfrm>
          <a:off x="2660027" y="156841"/>
          <a:ext cx="2195155" cy="109757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Warum kein … ?</a:t>
          </a:r>
        </a:p>
      </dsp:txBody>
      <dsp:txXfrm>
        <a:off x="2660027" y="156841"/>
        <a:ext cx="2195155" cy="1097577"/>
      </dsp:txXfrm>
    </dsp:sp>
    <dsp:sp modelId="{53C29529-FA9E-4894-BD2A-D889E5A1A56F}">
      <dsp:nvSpPr>
        <dsp:cNvPr id="0" name=""/>
        <dsp:cNvSpPr/>
      </dsp:nvSpPr>
      <dsp:spPr>
        <a:xfrm>
          <a:off x="3888" y="1715402"/>
          <a:ext cx="2195155" cy="109757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Rekurrentes Neuronales Netz (RNN), insbesondere Long Short-Term Memory (LSTM) für Sequenzverarbeitung</a:t>
          </a:r>
        </a:p>
      </dsp:txBody>
      <dsp:txXfrm>
        <a:off x="3888" y="1715402"/>
        <a:ext cx="2195155" cy="1097577"/>
      </dsp:txXfrm>
    </dsp:sp>
    <dsp:sp modelId="{CBEAD8BD-6232-45FF-A320-9625113035E0}">
      <dsp:nvSpPr>
        <dsp:cNvPr id="0" name=""/>
        <dsp:cNvSpPr/>
      </dsp:nvSpPr>
      <dsp:spPr>
        <a:xfrm>
          <a:off x="552677" y="3273962"/>
          <a:ext cx="2195155" cy="109757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Datensatz besteht aus voneinander unabhängigen Beobachtungen ohne Zeitdimension, daher keine Sequenz</a:t>
          </a:r>
        </a:p>
      </dsp:txBody>
      <dsp:txXfrm>
        <a:off x="552677" y="3273962"/>
        <a:ext cx="2195155" cy="1097577"/>
      </dsp:txXfrm>
    </dsp:sp>
    <dsp:sp modelId="{958A74AB-441F-4A67-9B01-17F01BD443FE}">
      <dsp:nvSpPr>
        <dsp:cNvPr id="0" name=""/>
        <dsp:cNvSpPr/>
      </dsp:nvSpPr>
      <dsp:spPr>
        <a:xfrm>
          <a:off x="2660027" y="1715402"/>
          <a:ext cx="2195155" cy="109757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Convolutional Neural Network (CNN)</a:t>
          </a:r>
        </a:p>
      </dsp:txBody>
      <dsp:txXfrm>
        <a:off x="2660027" y="1715402"/>
        <a:ext cx="2195155" cy="1097577"/>
      </dsp:txXfrm>
    </dsp:sp>
    <dsp:sp modelId="{9BB275DA-E721-47DD-99EC-6B92C92B76E4}">
      <dsp:nvSpPr>
        <dsp:cNvPr id="0" name=""/>
        <dsp:cNvSpPr/>
      </dsp:nvSpPr>
      <dsp:spPr>
        <a:xfrm>
          <a:off x="3208816" y="3273962"/>
          <a:ext cx="2195155" cy="109757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Keine räumliche Verbindung der Input-Daten wie z. B. bei Pixeln eines Bildes</a:t>
          </a:r>
        </a:p>
      </dsp:txBody>
      <dsp:txXfrm>
        <a:off x="3208816" y="3273962"/>
        <a:ext cx="2195155" cy="1097577"/>
      </dsp:txXfrm>
    </dsp:sp>
    <dsp:sp modelId="{AEF642B5-7B6F-42EE-AB44-30CBB52497B3}">
      <dsp:nvSpPr>
        <dsp:cNvPr id="0" name=""/>
        <dsp:cNvSpPr/>
      </dsp:nvSpPr>
      <dsp:spPr>
        <a:xfrm>
          <a:off x="5316165" y="1715402"/>
          <a:ext cx="2195155" cy="109757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Attention Mechanism</a:t>
          </a:r>
        </a:p>
      </dsp:txBody>
      <dsp:txXfrm>
        <a:off x="5316165" y="1715402"/>
        <a:ext cx="2195155" cy="1097577"/>
      </dsp:txXfrm>
    </dsp:sp>
    <dsp:sp modelId="{D65D1D60-FC15-490F-9D25-099794831BEB}">
      <dsp:nvSpPr>
        <dsp:cNvPr id="0" name=""/>
        <dsp:cNvSpPr/>
      </dsp:nvSpPr>
      <dsp:spPr>
        <a:xfrm>
          <a:off x="5864954" y="3273962"/>
          <a:ext cx="2195155" cy="109757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Ähnlich wie RNNs, keine Sequenz</a:t>
          </a:r>
        </a:p>
      </dsp:txBody>
      <dsp:txXfrm>
        <a:off x="5864954" y="3273962"/>
        <a:ext cx="2195155" cy="109757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F069B4-B5ED-4435-9454-EE4AF1FA8E0C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A23F4F-0A7C-4C5D-8567-98845A6BD93C}">
      <dsp:nvSpPr>
        <dsp:cNvPr id="0" name=""/>
        <dsp:cNvSpPr/>
      </dsp:nvSpPr>
      <dsp:spPr>
        <a:xfrm>
          <a:off x="8662" y="1358514"/>
          <a:ext cx="2595599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/>
            <a:t>Ermitteln des Zerfallszustands anhand der Zerfallrate der Turbine und des Kompressor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/>
            <a:t>Einteilung in: kaputt, zerfallend, nicht zerfallend</a:t>
          </a:r>
        </a:p>
      </dsp:txBody>
      <dsp:txXfrm>
        <a:off x="97085" y="1446937"/>
        <a:ext cx="2418753" cy="1634506"/>
      </dsp:txXfrm>
    </dsp:sp>
    <dsp:sp modelId="{03B10DDF-F3D0-4E9F-BCAB-7C34A28E18F2}">
      <dsp:nvSpPr>
        <dsp:cNvPr id="0" name=""/>
        <dsp:cNvSpPr/>
      </dsp:nvSpPr>
      <dsp:spPr>
        <a:xfrm>
          <a:off x="2734199" y="1358514"/>
          <a:ext cx="2595599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/>
            <a:t>Aufteilen in Trainings-, Validierungs- und Testdatensatz </a:t>
          </a:r>
        </a:p>
      </dsp:txBody>
      <dsp:txXfrm>
        <a:off x="2822622" y="1446937"/>
        <a:ext cx="2418753" cy="1634506"/>
      </dsp:txXfrm>
    </dsp:sp>
    <dsp:sp modelId="{D7F1DFD6-B6B8-4F7B-B5D8-3BF4F4819647}">
      <dsp:nvSpPr>
        <dsp:cNvPr id="0" name=""/>
        <dsp:cNvSpPr/>
      </dsp:nvSpPr>
      <dsp:spPr>
        <a:xfrm>
          <a:off x="5459736" y="1358514"/>
          <a:ext cx="2595599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/>
            <a:t>Skalierung: Daten auf Standardnormalverteilung skalieren</a:t>
          </a:r>
        </a:p>
      </dsp:txBody>
      <dsp:txXfrm>
        <a:off x="5548159" y="1446937"/>
        <a:ext cx="2418753" cy="16345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23940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47203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84204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66706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00625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08402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43916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9893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7426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7143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687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13603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20494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818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374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2147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ED74F4B-06F5-59E0-37D7-9C6B778C7F7C}"/>
              </a:ext>
            </a:extLst>
          </p:cNvPr>
          <p:cNvSpPr txBox="1"/>
          <p:nvPr userDrawn="1"/>
        </p:nvSpPr>
        <p:spPr>
          <a:xfrm>
            <a:off x="572400" y="6303962"/>
            <a:ext cx="12905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/>
                </a:solidFill>
              </a:rPr>
              <a:t>Luca Janas</a:t>
            </a:r>
          </a:p>
          <a:p>
            <a:r>
              <a:rPr lang="de-DE" sz="900" dirty="0">
                <a:solidFill>
                  <a:schemeClr val="tx1"/>
                </a:solidFill>
              </a:rPr>
              <a:t>Slide </a:t>
            </a:r>
            <a:fld id="{36C9BDFB-4319-48D5-9664-872A6ECB130F}" type="slidenum">
              <a:rPr lang="de-DE" sz="900" smtClean="0">
                <a:solidFill>
                  <a:schemeClr val="tx1"/>
                </a:solidFill>
              </a:rPr>
              <a:t>‹Nr.›</a:t>
            </a:fld>
            <a:r>
              <a:rPr lang="de-DE" sz="9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D91AD0B-5D40-D6AB-B27E-D438DBCEB843}"/>
              </a:ext>
            </a:extLst>
          </p:cNvPr>
          <p:cNvSpPr txBox="1"/>
          <p:nvPr userDrawn="1"/>
        </p:nvSpPr>
        <p:spPr>
          <a:xfrm>
            <a:off x="572400" y="6303962"/>
            <a:ext cx="12905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/>
                </a:solidFill>
              </a:rPr>
              <a:t>Luca Janas</a:t>
            </a:r>
          </a:p>
          <a:p>
            <a:r>
              <a:rPr lang="de-DE" sz="900" dirty="0">
                <a:solidFill>
                  <a:schemeClr val="tx1"/>
                </a:solidFill>
              </a:rPr>
              <a:t>Slide </a:t>
            </a:r>
            <a:fld id="{36C9BDFB-4319-48D5-9664-872A6ECB130F}" type="slidenum">
              <a:rPr lang="de-DE" sz="900" smtClean="0">
                <a:solidFill>
                  <a:schemeClr val="tx1"/>
                </a:solidFill>
              </a:rPr>
              <a:t>‹Nr.›</a:t>
            </a:fld>
            <a:r>
              <a:rPr lang="de-DE" sz="9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11CDDF6-3536-B7E8-448A-42DFB25EE6BB}"/>
              </a:ext>
            </a:extLst>
          </p:cNvPr>
          <p:cNvSpPr txBox="1"/>
          <p:nvPr userDrawn="1"/>
        </p:nvSpPr>
        <p:spPr>
          <a:xfrm>
            <a:off x="572400" y="6303962"/>
            <a:ext cx="12905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/>
                </a:solidFill>
              </a:rPr>
              <a:t>Luca Janas</a:t>
            </a:r>
          </a:p>
          <a:p>
            <a:r>
              <a:rPr lang="de-DE" sz="900" dirty="0">
                <a:solidFill>
                  <a:schemeClr val="tx1"/>
                </a:solidFill>
              </a:rPr>
              <a:t>Slide </a:t>
            </a:r>
            <a:fld id="{36C9BDFB-4319-48D5-9664-872A6ECB130F}" type="slidenum">
              <a:rPr lang="de-DE" sz="900" smtClean="0">
                <a:solidFill>
                  <a:schemeClr val="tx1"/>
                </a:solidFill>
              </a:rPr>
              <a:t>‹Nr.›</a:t>
            </a:fld>
            <a:r>
              <a:rPr lang="de-DE" sz="9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80DE5AB-267A-2C9D-3968-CD2246DAF555}"/>
              </a:ext>
            </a:extLst>
          </p:cNvPr>
          <p:cNvSpPr txBox="1"/>
          <p:nvPr userDrawn="1"/>
        </p:nvSpPr>
        <p:spPr>
          <a:xfrm>
            <a:off x="572400" y="6303962"/>
            <a:ext cx="12905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/>
                </a:solidFill>
              </a:rPr>
              <a:t>Luca Janas</a:t>
            </a:r>
          </a:p>
          <a:p>
            <a:r>
              <a:rPr lang="de-DE" sz="900" dirty="0">
                <a:solidFill>
                  <a:schemeClr val="tx1"/>
                </a:solidFill>
              </a:rPr>
              <a:t>Slide </a:t>
            </a:r>
            <a:fld id="{36C9BDFB-4319-48D5-9664-872A6ECB130F}" type="slidenum">
              <a:rPr lang="de-DE" sz="900" smtClean="0">
                <a:solidFill>
                  <a:schemeClr val="tx1"/>
                </a:solidFill>
              </a:rPr>
              <a:t>‹Nr.›</a:t>
            </a:fld>
            <a:r>
              <a:rPr lang="de-DE" sz="9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35540D1-07C2-AF23-F759-862606BF936E}"/>
              </a:ext>
            </a:extLst>
          </p:cNvPr>
          <p:cNvSpPr txBox="1"/>
          <p:nvPr userDrawn="1"/>
        </p:nvSpPr>
        <p:spPr>
          <a:xfrm>
            <a:off x="572400" y="6303962"/>
            <a:ext cx="12905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/>
                </a:solidFill>
              </a:rPr>
              <a:t>Luca Janas</a:t>
            </a:r>
          </a:p>
          <a:p>
            <a:r>
              <a:rPr lang="de-DE" sz="900" dirty="0">
                <a:solidFill>
                  <a:schemeClr val="tx1"/>
                </a:solidFill>
              </a:rPr>
              <a:t>Slide </a:t>
            </a:r>
            <a:fld id="{36C9BDFB-4319-48D5-9664-872A6ECB130F}" type="slidenum">
              <a:rPr lang="de-DE" sz="900" smtClean="0">
                <a:solidFill>
                  <a:schemeClr val="tx1"/>
                </a:solidFill>
              </a:rPr>
              <a:t>‹Nr.›</a:t>
            </a:fld>
            <a:r>
              <a:rPr lang="de-DE" sz="9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A64318B-413E-9316-DD71-3FD5A2F082B0}"/>
              </a:ext>
            </a:extLst>
          </p:cNvPr>
          <p:cNvSpPr txBox="1"/>
          <p:nvPr userDrawn="1"/>
        </p:nvSpPr>
        <p:spPr>
          <a:xfrm>
            <a:off x="572400" y="6303962"/>
            <a:ext cx="12905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/>
                </a:solidFill>
              </a:rPr>
              <a:t>Luca Janas</a:t>
            </a:r>
          </a:p>
          <a:p>
            <a:r>
              <a:rPr lang="de-DE" sz="900" dirty="0">
                <a:solidFill>
                  <a:schemeClr val="tx1"/>
                </a:solidFill>
              </a:rPr>
              <a:t>Slide </a:t>
            </a:r>
            <a:fld id="{36C9BDFB-4319-48D5-9664-872A6ECB130F}" type="slidenum">
              <a:rPr lang="de-DE" sz="900" smtClean="0">
                <a:solidFill>
                  <a:schemeClr val="tx1"/>
                </a:solidFill>
              </a:rPr>
              <a:t>‹Nr.›</a:t>
            </a:fld>
            <a:r>
              <a:rPr lang="de-DE" sz="9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810F8E2-E1FF-2DD8-F49A-5A009E56D50E}"/>
              </a:ext>
            </a:extLst>
          </p:cNvPr>
          <p:cNvSpPr txBox="1"/>
          <p:nvPr userDrawn="1"/>
        </p:nvSpPr>
        <p:spPr>
          <a:xfrm>
            <a:off x="572400" y="6303962"/>
            <a:ext cx="12905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tx1"/>
                </a:solidFill>
              </a:rPr>
              <a:t>Luca Janas</a:t>
            </a:r>
          </a:p>
          <a:p>
            <a:r>
              <a:rPr lang="de-DE" sz="900" dirty="0">
                <a:solidFill>
                  <a:schemeClr val="tx1"/>
                </a:solidFill>
              </a:rPr>
              <a:t>Slide </a:t>
            </a:r>
            <a:fld id="{36C9BDFB-4319-48D5-9664-872A6ECB130F}" type="slidenum">
              <a:rPr lang="de-DE" sz="900" smtClean="0">
                <a:solidFill>
                  <a:schemeClr val="tx1"/>
                </a:solidFill>
              </a:rPr>
              <a:t>‹Nr.›</a:t>
            </a:fld>
            <a:r>
              <a:rPr lang="de-DE" sz="9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Benjamin Buchwitz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0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archive.ics.uci.edu/dataset/316/condition+based+maintenance+of+naval+propulsion+plants" TargetMode="Externa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B667D34-E2D4-7B6A-ABFD-E10529FCDA69}"/>
              </a:ext>
            </a:extLst>
          </p:cNvPr>
          <p:cNvSpPr txBox="1"/>
          <p:nvPr/>
        </p:nvSpPr>
        <p:spPr>
          <a:xfrm>
            <a:off x="592931" y="2737800"/>
            <a:ext cx="7958137" cy="947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600"/>
              </a:spcAft>
            </a:pPr>
            <a:r>
              <a:rPr lang="en-GB" sz="2400" b="1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hersage</a:t>
            </a:r>
            <a:r>
              <a:rPr lang="en-GB" sz="24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s </a:t>
            </a:r>
            <a:r>
              <a:rPr lang="en-GB" sz="2400" b="1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Zerfallszustands</a:t>
            </a:r>
            <a:r>
              <a:rPr lang="en-GB" sz="24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von </a:t>
            </a:r>
            <a:r>
              <a:rPr lang="en-GB" sz="2400" b="1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hiffsturbinen</a:t>
            </a:r>
            <a:r>
              <a:rPr lang="en-GB" sz="24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d -</a:t>
            </a:r>
            <a:r>
              <a:rPr lang="en-GB" sz="2400" b="1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mpressoren</a:t>
            </a:r>
            <a:endParaRPr lang="de-DE" sz="2400" b="1" dirty="0">
              <a:solidFill>
                <a:schemeClr val="tx1"/>
              </a:solidFill>
              <a:effectLst/>
              <a:latin typeface="Palatino Linotype" panose="0204050205050503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A198E4-407E-1731-7B50-9D431266C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dirty="0"/>
              <a:t>Neuronale Netze und Deep Learning: </a:t>
            </a:r>
            <a:r>
              <a:rPr lang="de-DE" sz="2000" dirty="0" err="1"/>
              <a:t>Predictive</a:t>
            </a:r>
            <a:r>
              <a:rPr lang="de-DE" sz="2000" dirty="0"/>
              <a:t> Maintenance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2658612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D9E7B8-5602-C798-5D63-1AD642448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ronales Netz	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35050312-8F54-3BCC-E71F-BD9AC97748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208417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4A9E41B-E076-1125-D96A-14A83A3D2D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Preprocess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5580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245A54-2FB9-F657-FA6D-74CE80AB7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ronales Netz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8B1B951-A31D-BE84-A22D-FDDA52FD19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Unterschiedliche Varianten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63CA6799-E2C5-281C-DDE7-221E0BA659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22340" y="1949058"/>
            <a:ext cx="876300" cy="3238500"/>
          </a:xfr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0A484C4-EC41-F572-D5F4-87323DCF31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66249" y="1501738"/>
            <a:ext cx="876300" cy="467272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034BCF72-31BA-F03F-ED36-A9E89AFF6F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10158" y="1211633"/>
            <a:ext cx="769434" cy="4962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65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9C4C6B-7265-BA4D-B222-89095A70F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ronales Netz	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8D36B0C1-2CD8-A3DF-81CC-084CE6173303}"/>
              </a:ext>
            </a:extLst>
          </p:cNvPr>
          <p:cNvSpPr/>
          <p:nvPr/>
        </p:nvSpPr>
        <p:spPr>
          <a:xfrm>
            <a:off x="3866598" y="2601598"/>
            <a:ext cx="1476977" cy="147715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64641DA2-A024-8B89-CB05-3B61E806F8CC}"/>
              </a:ext>
            </a:extLst>
          </p:cNvPr>
          <p:cNvSpPr/>
          <p:nvPr/>
        </p:nvSpPr>
        <p:spPr>
          <a:xfrm>
            <a:off x="3758902" y="1448672"/>
            <a:ext cx="1692369" cy="905676"/>
          </a:xfrm>
          <a:custGeom>
            <a:avLst/>
            <a:gdLst>
              <a:gd name="connsiteX0" fmla="*/ 0 w 1692369"/>
              <a:gd name="connsiteY0" fmla="*/ 0 h 905676"/>
              <a:gd name="connsiteX1" fmla="*/ 1692369 w 1692369"/>
              <a:gd name="connsiteY1" fmla="*/ 0 h 905676"/>
              <a:gd name="connsiteX2" fmla="*/ 1692369 w 1692369"/>
              <a:gd name="connsiteY2" fmla="*/ 905676 h 905676"/>
              <a:gd name="connsiteX3" fmla="*/ 0 w 1692369"/>
              <a:gd name="connsiteY3" fmla="*/ 905676 h 905676"/>
              <a:gd name="connsiteX4" fmla="*/ 0 w 1692369"/>
              <a:gd name="connsiteY4" fmla="*/ 0 h 905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2369" h="905676">
                <a:moveTo>
                  <a:pt x="0" y="0"/>
                </a:moveTo>
                <a:lnTo>
                  <a:pt x="1692369" y="0"/>
                </a:lnTo>
                <a:lnTo>
                  <a:pt x="1692369" y="905676"/>
                </a:lnTo>
                <a:lnTo>
                  <a:pt x="0" y="90567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200" kern="1200" dirty="0"/>
              <a:t>Unterschiedliche Netzwerkgrößen (Größe und Anzahl der Hidden </a:t>
            </a:r>
            <a:r>
              <a:rPr lang="de-DE" sz="1200" kern="1200" dirty="0" err="1"/>
              <a:t>Layers</a:t>
            </a:r>
            <a:r>
              <a:rPr lang="de-DE" sz="1200" kern="1200" dirty="0"/>
              <a:t>)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A7FB19D-5840-1A26-A033-5BC7839D6485}"/>
              </a:ext>
            </a:extLst>
          </p:cNvPr>
          <p:cNvSpPr/>
          <p:nvPr/>
        </p:nvSpPr>
        <p:spPr>
          <a:xfrm>
            <a:off x="4299845" y="2809903"/>
            <a:ext cx="1476977" cy="147715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92C31D98-DE13-B991-813C-2C3A39441E50}"/>
              </a:ext>
            </a:extLst>
          </p:cNvPr>
          <p:cNvSpPr/>
          <p:nvPr/>
        </p:nvSpPr>
        <p:spPr>
          <a:xfrm>
            <a:off x="5958983" y="2309064"/>
            <a:ext cx="1600058" cy="996244"/>
          </a:xfrm>
          <a:custGeom>
            <a:avLst/>
            <a:gdLst>
              <a:gd name="connsiteX0" fmla="*/ 0 w 1600058"/>
              <a:gd name="connsiteY0" fmla="*/ 0 h 996244"/>
              <a:gd name="connsiteX1" fmla="*/ 1600058 w 1600058"/>
              <a:gd name="connsiteY1" fmla="*/ 0 h 996244"/>
              <a:gd name="connsiteX2" fmla="*/ 1600058 w 1600058"/>
              <a:gd name="connsiteY2" fmla="*/ 996244 h 996244"/>
              <a:gd name="connsiteX3" fmla="*/ 0 w 1600058"/>
              <a:gd name="connsiteY3" fmla="*/ 996244 h 996244"/>
              <a:gd name="connsiteX4" fmla="*/ 0 w 1600058"/>
              <a:gd name="connsiteY4" fmla="*/ 0 h 99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058" h="996244">
                <a:moveTo>
                  <a:pt x="0" y="0"/>
                </a:moveTo>
                <a:lnTo>
                  <a:pt x="1600058" y="0"/>
                </a:lnTo>
                <a:lnTo>
                  <a:pt x="1600058" y="996244"/>
                </a:lnTo>
                <a:lnTo>
                  <a:pt x="0" y="99624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200" kern="1200" dirty="0" err="1"/>
              <a:t>Minibatching</a:t>
            </a:r>
            <a:endParaRPr lang="de-DE" sz="1200" kern="1200" dirty="0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FAD5F5E-56EC-BDFE-B081-FDA76E06C43D}"/>
              </a:ext>
            </a:extLst>
          </p:cNvPr>
          <p:cNvSpPr/>
          <p:nvPr/>
        </p:nvSpPr>
        <p:spPr>
          <a:xfrm>
            <a:off x="4406311" y="3278591"/>
            <a:ext cx="1476977" cy="147715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AE0776F-C182-F8D4-68C0-6EBE09ECE319}"/>
              </a:ext>
            </a:extLst>
          </p:cNvPr>
          <p:cNvSpPr/>
          <p:nvPr/>
        </p:nvSpPr>
        <p:spPr>
          <a:xfrm>
            <a:off x="6112834" y="3577011"/>
            <a:ext cx="1569288" cy="1064169"/>
          </a:xfrm>
          <a:custGeom>
            <a:avLst/>
            <a:gdLst>
              <a:gd name="connsiteX0" fmla="*/ 0 w 1569288"/>
              <a:gd name="connsiteY0" fmla="*/ 0 h 1064169"/>
              <a:gd name="connsiteX1" fmla="*/ 1569288 w 1569288"/>
              <a:gd name="connsiteY1" fmla="*/ 0 h 1064169"/>
              <a:gd name="connsiteX2" fmla="*/ 1569288 w 1569288"/>
              <a:gd name="connsiteY2" fmla="*/ 1064169 h 1064169"/>
              <a:gd name="connsiteX3" fmla="*/ 0 w 1569288"/>
              <a:gd name="connsiteY3" fmla="*/ 1064169 h 1064169"/>
              <a:gd name="connsiteX4" fmla="*/ 0 w 1569288"/>
              <a:gd name="connsiteY4" fmla="*/ 0 h 106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69288" h="1064169">
                <a:moveTo>
                  <a:pt x="0" y="0"/>
                </a:moveTo>
                <a:lnTo>
                  <a:pt x="1569288" y="0"/>
                </a:lnTo>
                <a:lnTo>
                  <a:pt x="1569288" y="1064169"/>
                </a:lnTo>
                <a:lnTo>
                  <a:pt x="0" y="106416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200" kern="1200" dirty="0"/>
              <a:t>Unterschiedliche Learning Rates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3AB66BC3-F6B3-7B4E-01A7-B2CEF185BBCC}"/>
              </a:ext>
            </a:extLst>
          </p:cNvPr>
          <p:cNvSpPr/>
          <p:nvPr/>
        </p:nvSpPr>
        <p:spPr>
          <a:xfrm>
            <a:off x="4106607" y="3654446"/>
            <a:ext cx="1476977" cy="147715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EFABB3DD-0C7E-AEDC-D87E-7E1A37FEC24F}"/>
              </a:ext>
            </a:extLst>
          </p:cNvPr>
          <p:cNvSpPr/>
          <p:nvPr/>
        </p:nvSpPr>
        <p:spPr>
          <a:xfrm>
            <a:off x="5435887" y="5003451"/>
            <a:ext cx="1692369" cy="973602"/>
          </a:xfrm>
          <a:custGeom>
            <a:avLst/>
            <a:gdLst>
              <a:gd name="connsiteX0" fmla="*/ 0 w 1692369"/>
              <a:gd name="connsiteY0" fmla="*/ 0 h 973602"/>
              <a:gd name="connsiteX1" fmla="*/ 1692369 w 1692369"/>
              <a:gd name="connsiteY1" fmla="*/ 0 h 973602"/>
              <a:gd name="connsiteX2" fmla="*/ 1692369 w 1692369"/>
              <a:gd name="connsiteY2" fmla="*/ 973602 h 973602"/>
              <a:gd name="connsiteX3" fmla="*/ 0 w 1692369"/>
              <a:gd name="connsiteY3" fmla="*/ 973602 h 973602"/>
              <a:gd name="connsiteX4" fmla="*/ 0 w 1692369"/>
              <a:gd name="connsiteY4" fmla="*/ 0 h 97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2369" h="973602">
                <a:moveTo>
                  <a:pt x="0" y="0"/>
                </a:moveTo>
                <a:lnTo>
                  <a:pt x="1692369" y="0"/>
                </a:lnTo>
                <a:lnTo>
                  <a:pt x="1692369" y="973602"/>
                </a:lnTo>
                <a:lnTo>
                  <a:pt x="0" y="97360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200" kern="1200" dirty="0"/>
              <a:t>Dropout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CC124F93-5E97-71A3-0537-3F08603017BB}"/>
              </a:ext>
            </a:extLst>
          </p:cNvPr>
          <p:cNvSpPr/>
          <p:nvPr/>
        </p:nvSpPr>
        <p:spPr>
          <a:xfrm>
            <a:off x="3626590" y="3654446"/>
            <a:ext cx="1476977" cy="147715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E61E9D8E-941C-DD86-4434-DE19D43A8B87}"/>
              </a:ext>
            </a:extLst>
          </p:cNvPr>
          <p:cNvSpPr/>
          <p:nvPr/>
        </p:nvSpPr>
        <p:spPr>
          <a:xfrm>
            <a:off x="2081918" y="5003451"/>
            <a:ext cx="1692369" cy="973602"/>
          </a:xfrm>
          <a:custGeom>
            <a:avLst/>
            <a:gdLst>
              <a:gd name="connsiteX0" fmla="*/ 0 w 1692369"/>
              <a:gd name="connsiteY0" fmla="*/ 0 h 973602"/>
              <a:gd name="connsiteX1" fmla="*/ 1692369 w 1692369"/>
              <a:gd name="connsiteY1" fmla="*/ 0 h 973602"/>
              <a:gd name="connsiteX2" fmla="*/ 1692369 w 1692369"/>
              <a:gd name="connsiteY2" fmla="*/ 973602 h 973602"/>
              <a:gd name="connsiteX3" fmla="*/ 0 w 1692369"/>
              <a:gd name="connsiteY3" fmla="*/ 973602 h 973602"/>
              <a:gd name="connsiteX4" fmla="*/ 0 w 1692369"/>
              <a:gd name="connsiteY4" fmla="*/ 0 h 97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92369" h="973602">
                <a:moveTo>
                  <a:pt x="0" y="0"/>
                </a:moveTo>
                <a:lnTo>
                  <a:pt x="1692369" y="0"/>
                </a:lnTo>
                <a:lnTo>
                  <a:pt x="1692369" y="973602"/>
                </a:lnTo>
                <a:lnTo>
                  <a:pt x="0" y="97360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200" kern="1200" dirty="0"/>
              <a:t>Early </a:t>
            </a:r>
            <a:r>
              <a:rPr lang="de-DE" sz="1200" kern="1200" dirty="0" err="1"/>
              <a:t>Stopping</a:t>
            </a:r>
            <a:endParaRPr lang="de-DE" sz="1200" kern="1200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86746C3-9593-D171-2EB2-741D22B6B018}"/>
              </a:ext>
            </a:extLst>
          </p:cNvPr>
          <p:cNvSpPr/>
          <p:nvPr/>
        </p:nvSpPr>
        <p:spPr>
          <a:xfrm>
            <a:off x="3326886" y="3278591"/>
            <a:ext cx="1476977" cy="147715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95ABCA28-115B-96CC-BC72-B1CB9DE262CB}"/>
              </a:ext>
            </a:extLst>
          </p:cNvPr>
          <p:cNvSpPr/>
          <p:nvPr/>
        </p:nvSpPr>
        <p:spPr>
          <a:xfrm>
            <a:off x="1528051" y="3577011"/>
            <a:ext cx="1569288" cy="1064169"/>
          </a:xfrm>
          <a:custGeom>
            <a:avLst/>
            <a:gdLst>
              <a:gd name="connsiteX0" fmla="*/ 0 w 1569288"/>
              <a:gd name="connsiteY0" fmla="*/ 0 h 1064169"/>
              <a:gd name="connsiteX1" fmla="*/ 1569288 w 1569288"/>
              <a:gd name="connsiteY1" fmla="*/ 0 h 1064169"/>
              <a:gd name="connsiteX2" fmla="*/ 1569288 w 1569288"/>
              <a:gd name="connsiteY2" fmla="*/ 1064169 h 1064169"/>
              <a:gd name="connsiteX3" fmla="*/ 0 w 1569288"/>
              <a:gd name="connsiteY3" fmla="*/ 1064169 h 1064169"/>
              <a:gd name="connsiteX4" fmla="*/ 0 w 1569288"/>
              <a:gd name="connsiteY4" fmla="*/ 0 h 106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69288" h="1064169">
                <a:moveTo>
                  <a:pt x="0" y="0"/>
                </a:moveTo>
                <a:lnTo>
                  <a:pt x="1569288" y="0"/>
                </a:lnTo>
                <a:lnTo>
                  <a:pt x="1569288" y="1064169"/>
                </a:lnTo>
                <a:lnTo>
                  <a:pt x="0" y="106416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200" kern="1200" dirty="0"/>
              <a:t>Unterschiedliche Aktivierungsfunktionen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8035F672-71AE-ECCE-ECA7-C10376C357CB}"/>
              </a:ext>
            </a:extLst>
          </p:cNvPr>
          <p:cNvSpPr/>
          <p:nvPr/>
        </p:nvSpPr>
        <p:spPr>
          <a:xfrm>
            <a:off x="3433352" y="2809903"/>
            <a:ext cx="1476977" cy="147715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3E1E79E-2A83-4306-ABAB-B4D9F9706E32}"/>
              </a:ext>
            </a:extLst>
          </p:cNvPr>
          <p:cNvSpPr/>
          <p:nvPr/>
        </p:nvSpPr>
        <p:spPr>
          <a:xfrm>
            <a:off x="1651133" y="2309064"/>
            <a:ext cx="1600058" cy="996244"/>
          </a:xfrm>
          <a:custGeom>
            <a:avLst/>
            <a:gdLst>
              <a:gd name="connsiteX0" fmla="*/ 0 w 1600058"/>
              <a:gd name="connsiteY0" fmla="*/ 0 h 996244"/>
              <a:gd name="connsiteX1" fmla="*/ 1600058 w 1600058"/>
              <a:gd name="connsiteY1" fmla="*/ 0 h 996244"/>
              <a:gd name="connsiteX2" fmla="*/ 1600058 w 1600058"/>
              <a:gd name="connsiteY2" fmla="*/ 996244 h 996244"/>
              <a:gd name="connsiteX3" fmla="*/ 0 w 1600058"/>
              <a:gd name="connsiteY3" fmla="*/ 996244 h 996244"/>
              <a:gd name="connsiteX4" fmla="*/ 0 w 1600058"/>
              <a:gd name="connsiteY4" fmla="*/ 0 h 99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058" h="996244">
                <a:moveTo>
                  <a:pt x="0" y="0"/>
                </a:moveTo>
                <a:lnTo>
                  <a:pt x="1600058" y="0"/>
                </a:lnTo>
                <a:lnTo>
                  <a:pt x="1600058" y="996244"/>
                </a:lnTo>
                <a:lnTo>
                  <a:pt x="0" y="99624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1200" kern="1200" dirty="0"/>
              <a:t>Unterschiedliche Input-Featur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74C429B-1E83-09B1-F563-106D86F516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ining</a:t>
            </a:r>
          </a:p>
        </p:txBody>
      </p:sp>
    </p:spTree>
    <p:extLst>
      <p:ext uri="{BB962C8B-B14F-4D97-AF65-F5344CB8AC3E}">
        <p14:creationId xmlns:p14="http://schemas.microsoft.com/office/powerpoint/2010/main" val="1247840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9" grpId="0"/>
      <p:bldP spid="21" grpId="0"/>
      <p:bldP spid="23" grpId="0"/>
      <p:bldP spid="25" grpId="0"/>
      <p:bldP spid="2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FCF176-98C2-DE30-2BD5-93BD4E397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ronales Netz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C2C3454B-2023-618E-4D11-41320EA5A03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4005591"/>
              </p:ext>
            </p:extLst>
          </p:nvPr>
        </p:nvGraphicFramePr>
        <p:xfrm>
          <a:off x="571899" y="1458442"/>
          <a:ext cx="8064500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125">
                  <a:extLst>
                    <a:ext uri="{9D8B030D-6E8A-4147-A177-3AD203B41FA5}">
                      <a16:colId xmlns:a16="http://schemas.microsoft.com/office/drawing/2014/main" val="2172811840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2948638128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1149596064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18535006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rainings-epoc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A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Balanc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ccuracy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607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LP1 (klei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48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0847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LP2 (mitt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92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5147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LP3 (groß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81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4927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XGBRegresso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83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186561"/>
                  </a:ext>
                </a:extLst>
              </a:tr>
            </a:tbl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CE1129-A883-79C7-F33E-37B797D9B0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rgebnisse: Zerfallszustand des Kompressors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A379E3B-C7AC-5933-3F5F-CCE3FC364EB8}"/>
              </a:ext>
            </a:extLst>
          </p:cNvPr>
          <p:cNvSpPr txBox="1"/>
          <p:nvPr/>
        </p:nvSpPr>
        <p:spPr>
          <a:xfrm>
            <a:off x="507601" y="1119888"/>
            <a:ext cx="3502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chemeClr val="tx1"/>
                </a:solidFill>
              </a:rPr>
              <a:t>Regressio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EBB1F12D-24D4-63B0-5B21-B27B0238F8CA}"/>
              </a:ext>
            </a:extLst>
          </p:cNvPr>
          <p:cNvGrpSpPr/>
          <p:nvPr/>
        </p:nvGrpSpPr>
        <p:grpSpPr>
          <a:xfrm>
            <a:off x="507601" y="3607312"/>
            <a:ext cx="8160973" cy="2580241"/>
            <a:chOff x="507601" y="3607312"/>
            <a:chExt cx="8160973" cy="2580241"/>
          </a:xfrm>
        </p:grpSpPr>
        <p:pic>
          <p:nvPicPr>
            <p:cNvPr id="7" name="Grafik 6" descr="Ein Bild, das Text, Screenshot, Schrift, Zahl enthält.&#10;&#10;Automatisch generierte Beschreibung">
              <a:extLst>
                <a:ext uri="{FF2B5EF4-FFF2-40B4-BE49-F238E27FC236}">
                  <a16:creationId xmlns:a16="http://schemas.microsoft.com/office/drawing/2014/main" id="{20A54EB9-FED8-EA82-2361-3E46A019D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1899" y="3945866"/>
              <a:ext cx="8096675" cy="2241687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E8F40058-3583-237E-F258-B1F004FCE319}"/>
                </a:ext>
              </a:extLst>
            </p:cNvPr>
            <p:cNvSpPr txBox="1"/>
            <p:nvPr/>
          </p:nvSpPr>
          <p:spPr>
            <a:xfrm>
              <a:off x="507601" y="3607312"/>
              <a:ext cx="35021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600" b="1" dirty="0">
                  <a:solidFill>
                    <a:schemeClr val="tx1"/>
                  </a:solidFill>
                </a:rPr>
                <a:t>Klassifik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019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FCF176-98C2-DE30-2BD5-93BD4E397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ronales Netz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C2C3454B-2023-618E-4D11-41320EA5A03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41831005"/>
              </p:ext>
            </p:extLst>
          </p:nvPr>
        </p:nvGraphicFramePr>
        <p:xfrm>
          <a:off x="571899" y="1458442"/>
          <a:ext cx="8064500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125">
                  <a:extLst>
                    <a:ext uri="{9D8B030D-6E8A-4147-A177-3AD203B41FA5}">
                      <a16:colId xmlns:a16="http://schemas.microsoft.com/office/drawing/2014/main" val="2172811840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2948638128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1149596064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18535006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rainings-epoc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A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Balanc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ccuracy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607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LP1 (klei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784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0847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LP2 (mitt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81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5147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LP3 (groß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820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4927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XGBRegresso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0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.886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186561"/>
                  </a:ext>
                </a:extLst>
              </a:tr>
            </a:tbl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CE1129-A883-79C7-F33E-37B797D9B0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rgebnisse: Zerfallszustand der Turbin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A379E3B-C7AC-5933-3F5F-CCE3FC364EB8}"/>
              </a:ext>
            </a:extLst>
          </p:cNvPr>
          <p:cNvSpPr txBox="1"/>
          <p:nvPr/>
        </p:nvSpPr>
        <p:spPr>
          <a:xfrm>
            <a:off x="507601" y="1119888"/>
            <a:ext cx="3502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>
                <a:solidFill>
                  <a:schemeClr val="tx1"/>
                </a:solidFill>
              </a:rPr>
              <a:t>Regression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52A1C6F-D2AC-C5ED-4B61-F095565A50B6}"/>
              </a:ext>
            </a:extLst>
          </p:cNvPr>
          <p:cNvGrpSpPr/>
          <p:nvPr/>
        </p:nvGrpSpPr>
        <p:grpSpPr>
          <a:xfrm>
            <a:off x="507601" y="3607312"/>
            <a:ext cx="8160973" cy="2577470"/>
            <a:chOff x="507601" y="3607312"/>
            <a:chExt cx="8160973" cy="2577470"/>
          </a:xfrm>
        </p:grpSpPr>
        <p:pic>
          <p:nvPicPr>
            <p:cNvPr id="11" name="Grafik 10" descr="Ein Bild, das Text, Screenshot, Schrift, Zahl enthält.&#10;&#10;Automatisch generierte Beschreibung">
              <a:extLst>
                <a:ext uri="{FF2B5EF4-FFF2-40B4-BE49-F238E27FC236}">
                  <a16:creationId xmlns:a16="http://schemas.microsoft.com/office/drawing/2014/main" id="{71E3DB84-F00D-8C37-835B-04EBA152B0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1899" y="3945866"/>
              <a:ext cx="8096675" cy="2238916"/>
            </a:xfrm>
            <a:prstGeom prst="rect">
              <a:avLst/>
            </a:prstGeom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1CB19DB8-D40B-5891-545D-AF4B2DB7A7BC}"/>
                </a:ext>
              </a:extLst>
            </p:cNvPr>
            <p:cNvSpPr txBox="1"/>
            <p:nvPr/>
          </p:nvSpPr>
          <p:spPr>
            <a:xfrm>
              <a:off x="507601" y="3607312"/>
              <a:ext cx="35021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600" b="1" dirty="0">
                  <a:solidFill>
                    <a:schemeClr val="tx1"/>
                  </a:solidFill>
                </a:rPr>
                <a:t>Klassifik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4537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72B48C-1EA0-79FD-2C09-C173A8DA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001DEC-D35A-CB04-DCE7-FC24D9F8D3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3000" dirty="0"/>
              <a:t>Muss es immer Deep Learning sein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146962D-0075-3ED1-998D-40CCFE7F32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14897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54500B2-0678-DB55-470E-0B760B3D4312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9AC1F2-6D0D-E778-D2AA-A90D2B085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9225F5B-B1EF-B9AE-B3D1-77E83CD660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8F5947-3882-689E-ED2F-3EE17A8C51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372638" y="1862138"/>
            <a:ext cx="6263362" cy="2583113"/>
          </a:xfrm>
        </p:spPr>
        <p:txBody>
          <a:bodyPr anchor="ctr"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2500" dirty="0" err="1"/>
              <a:t>Vielen</a:t>
            </a:r>
            <a:r>
              <a:rPr lang="en-GB" sz="2500" dirty="0"/>
              <a:t> Dank für die </a:t>
            </a:r>
            <a:r>
              <a:rPr lang="en-GB" sz="2500" dirty="0" err="1"/>
              <a:t>Aufmerksamkeit</a:t>
            </a:r>
            <a:r>
              <a:rPr lang="en-GB" sz="25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159669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957A8-5BCF-3BAC-C0F7-C43A3FAC0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dirty="0"/>
              <a:t>Inhalt</a:t>
            </a:r>
            <a:endParaRPr lang="en-GB" sz="2000" dirty="0"/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7D821A9A-3CEE-3FFE-8A5F-E16404F241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12435600"/>
              </p:ext>
            </p:extLst>
          </p:nvPr>
        </p:nvGraphicFramePr>
        <p:xfrm>
          <a:off x="573088" y="1449388"/>
          <a:ext cx="8064500" cy="4527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17680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B667D34-E2D4-7B6A-ABFD-E10529FCDA69}"/>
              </a:ext>
            </a:extLst>
          </p:cNvPr>
          <p:cNvSpPr txBox="1"/>
          <p:nvPr/>
        </p:nvSpPr>
        <p:spPr>
          <a:xfrm>
            <a:off x="592931" y="2737800"/>
            <a:ext cx="7958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chemeClr val="tx1"/>
                </a:solidFill>
              </a:rPr>
              <a:t>Datensatz</a:t>
            </a:r>
            <a:endParaRPr lang="en-GB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415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DDC372E-9ADD-CF04-9977-B456B66A6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satz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A445BAF2-1CAC-99D6-29AA-4E30F5250A3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4302153"/>
              </p:ext>
            </p:extLst>
          </p:nvPr>
        </p:nvGraphicFramePr>
        <p:xfrm>
          <a:off x="573088" y="1449388"/>
          <a:ext cx="8064500" cy="4527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619D990-1DF5-8BD0-E374-B754EE7C96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/>
          <a:lstStyle/>
          <a:p>
            <a:endParaRPr lang="de-DE" baseline="300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74BF088-513A-F2B8-17C9-6D44103DFD99}"/>
              </a:ext>
            </a:extLst>
          </p:cNvPr>
          <p:cNvSpPr txBox="1"/>
          <p:nvPr/>
        </p:nvSpPr>
        <p:spPr>
          <a:xfrm>
            <a:off x="104316" y="5986139"/>
            <a:ext cx="67038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aseline="30000" dirty="0"/>
              <a:t>1 </a:t>
            </a:r>
            <a:r>
              <a:rPr lang="en-US" sz="1100" dirty="0">
                <a:hlinkClick r:id="rId8"/>
              </a:rPr>
              <a:t>Condition Based Maintenance of Naval Propulsion Plants - UCI Machine Learning Repository</a:t>
            </a:r>
            <a:endParaRPr lang="de-DE" sz="1100" baseline="30000" dirty="0"/>
          </a:p>
        </p:txBody>
      </p:sp>
    </p:spTree>
    <p:extLst>
      <p:ext uri="{BB962C8B-B14F-4D97-AF65-F5344CB8AC3E}">
        <p14:creationId xmlns:p14="http://schemas.microsoft.com/office/powerpoint/2010/main" val="1073958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83185A-C335-E0DB-0B71-6902323BC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satz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8E2A66-68F3-4302-CBF9-000384B1C2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Zerfall der Schiffsturbin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051D3F7-F52B-48DB-6E57-BE95C00FA93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3572" y="1733483"/>
            <a:ext cx="5303531" cy="3959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750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83185A-C335-E0DB-0B71-6902323BC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satz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8E2A66-68F3-4302-CBF9-000384B1C2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Zerfall des Kompressor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35F1E69-4F76-8460-B6C9-E4C4514BB76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3572" y="1733483"/>
            <a:ext cx="5303531" cy="3959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099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1" name="Title 1">
            <a:extLst>
              <a:ext uri="{FF2B5EF4-FFF2-40B4-BE49-F238E27FC236}">
                <a16:creationId xmlns:a16="http://schemas.microsoft.com/office/drawing/2014/main" id="{32DABB33-5972-5FF9-681B-7895E4425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/>
          <a:lstStyle/>
          <a:p>
            <a:r>
              <a:rPr lang="en-US" dirty="0" err="1"/>
              <a:t>Datensatz</a:t>
            </a:r>
            <a:endParaRPr lang="en-US" dirty="0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6EF58DD0-7318-7DCE-71BB-A7880CAF4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40896" y="1448672"/>
            <a:ext cx="4528382" cy="452838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083" name="Text Placeholder 3">
            <a:extLst>
              <a:ext uri="{FF2B5EF4-FFF2-40B4-BE49-F238E27FC236}">
                <a16:creationId xmlns:a16="http://schemas.microsoft.com/office/drawing/2014/main" id="{3143DE42-F9E0-C405-3A1E-36D2E5B5A1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/>
          <a:lstStyle/>
          <a:p>
            <a:r>
              <a:rPr lang="en-US" dirty="0" err="1"/>
              <a:t>Scatterplotmatr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5633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B667D34-E2D4-7B6A-ABFD-E10529FCDA69}"/>
              </a:ext>
            </a:extLst>
          </p:cNvPr>
          <p:cNvSpPr txBox="1"/>
          <p:nvPr/>
        </p:nvSpPr>
        <p:spPr>
          <a:xfrm>
            <a:off x="592931" y="2737800"/>
            <a:ext cx="7958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chemeClr val="tx1"/>
                </a:solidFill>
              </a:rPr>
              <a:t>Neuronales Netz</a:t>
            </a:r>
            <a:endParaRPr lang="en-GB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8522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DAAF87-197C-1426-850A-F13AE8C12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ronales Netz	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1CC690F3-105E-A1CD-15D4-972CA3A5F7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300047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AFFCD32-3B25-A35F-0288-88315E47EA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arum ein Multi Layer </a:t>
            </a:r>
            <a:r>
              <a:rPr lang="de-DE" dirty="0" err="1"/>
              <a:t>Perceptron</a:t>
            </a:r>
            <a:r>
              <a:rPr lang="de-DE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997003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331</Words>
  <Application>Microsoft Office PowerPoint</Application>
  <PresentationFormat>Bildschirmpräsentation (4:3)</PresentationFormat>
  <Paragraphs>121</Paragraphs>
  <Slides>16</Slides>
  <Notes>16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  <vt:variant>
        <vt:lpstr>Zielgruppenorientierte Präsentationen</vt:lpstr>
      </vt:variant>
      <vt:variant>
        <vt:i4>1</vt:i4>
      </vt:variant>
    </vt:vector>
  </HeadingPairs>
  <TitlesOfParts>
    <vt:vector size="24" baseType="lpstr">
      <vt:lpstr>Arial</vt:lpstr>
      <vt:lpstr>Palatino Linotype</vt:lpstr>
      <vt:lpstr>Syntax</vt:lpstr>
      <vt:lpstr>Times</vt:lpstr>
      <vt:lpstr>Wingdings</vt:lpstr>
      <vt:lpstr>Leere Präsentation</vt:lpstr>
      <vt:lpstr>think-cell Folie</vt:lpstr>
      <vt:lpstr>Neuronale Netze und Deep Learning: Predictive Maintenance</vt:lpstr>
      <vt:lpstr>Inhalt</vt:lpstr>
      <vt:lpstr>PowerPoint-Präsentation</vt:lpstr>
      <vt:lpstr>Datensatz</vt:lpstr>
      <vt:lpstr>Datensatz</vt:lpstr>
      <vt:lpstr>Datensatz</vt:lpstr>
      <vt:lpstr>Datensatz</vt:lpstr>
      <vt:lpstr>PowerPoint-Präsentation</vt:lpstr>
      <vt:lpstr>Neuronales Netz </vt:lpstr>
      <vt:lpstr>Neuronales Netz </vt:lpstr>
      <vt:lpstr>Neuronales Netz</vt:lpstr>
      <vt:lpstr>Neuronales Netz </vt:lpstr>
      <vt:lpstr>Neuronales Netz</vt:lpstr>
      <vt:lpstr>Neuronales Netz</vt:lpstr>
      <vt:lpstr>Fazit</vt:lpstr>
      <vt:lpstr>PowerPoint-Präsentation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Luca Janas</cp:lastModifiedBy>
  <cp:revision>755</cp:revision>
  <cp:lastPrinted>2010-04-29T14:30:22Z</cp:lastPrinted>
  <dcterms:created xsi:type="dcterms:W3CDTF">2010-04-29T12:39:23Z</dcterms:created>
  <dcterms:modified xsi:type="dcterms:W3CDTF">2023-09-19T20:23:29Z</dcterms:modified>
</cp:coreProperties>
</file>